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9"/>
  </p:notesMasterIdLst>
  <p:sldIdLst>
    <p:sldId id="256" r:id="rId2"/>
    <p:sldId id="257" r:id="rId3"/>
    <p:sldId id="258" r:id="rId4"/>
    <p:sldId id="259" r:id="rId5"/>
    <p:sldId id="260" r:id="rId6"/>
    <p:sldId id="261" r:id="rId7"/>
    <p:sldId id="262" r:id="rId8"/>
    <p:sldId id="272" r:id="rId9"/>
    <p:sldId id="273" r:id="rId10"/>
    <p:sldId id="274" r:id="rId11"/>
    <p:sldId id="275" r:id="rId12"/>
    <p:sldId id="276" r:id="rId13"/>
    <p:sldId id="277" r:id="rId14"/>
    <p:sldId id="278" r:id="rId15"/>
    <p:sldId id="279" r:id="rId16"/>
    <p:sldId id="280" r:id="rId17"/>
    <p:sldId id="281" r:id="rId18"/>
    <p:sldId id="282" r:id="rId19"/>
    <p:sldId id="283" r:id="rId20"/>
    <p:sldId id="284" r:id="rId21"/>
    <p:sldId id="285" r:id="rId22"/>
    <p:sldId id="286" r:id="rId23"/>
    <p:sldId id="287" r:id="rId24"/>
    <p:sldId id="288" r:id="rId25"/>
    <p:sldId id="289" r:id="rId26"/>
    <p:sldId id="290" r:id="rId27"/>
    <p:sldId id="291" r:id="rId28"/>
    <p:sldId id="292" r:id="rId29"/>
    <p:sldId id="293" r:id="rId30"/>
    <p:sldId id="295" r:id="rId31"/>
    <p:sldId id="296" r:id="rId32"/>
    <p:sldId id="297" r:id="rId33"/>
    <p:sldId id="298" r:id="rId34"/>
    <p:sldId id="299" r:id="rId35"/>
    <p:sldId id="300" r:id="rId36"/>
    <p:sldId id="301" r:id="rId37"/>
    <p:sldId id="302" r:id="rId38"/>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C0C0"/>
    <a:srgbClr val="DDDDDD"/>
    <a:srgbClr val="EAEAEA"/>
    <a:srgbClr val="FFD579"/>
    <a:srgbClr val="FFFC00"/>
    <a:srgbClr val="01189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79"/>
    <p:restoredTop sz="96296"/>
  </p:normalViewPr>
  <p:slideViewPr>
    <p:cSldViewPr snapToGrid="0" snapToObjects="1">
      <p:cViewPr varScale="1">
        <p:scale>
          <a:sx n="70" d="100"/>
          <a:sy n="70" d="100"/>
        </p:scale>
        <p:origin x="714" y="60"/>
      </p:cViewPr>
      <p:guideLst/>
    </p:cSldViewPr>
  </p:slideViewPr>
  <p:notesTextViewPr>
    <p:cViewPr>
      <p:scale>
        <a:sx n="1" d="1"/>
        <a:sy n="1" d="1"/>
      </p:scale>
      <p:origin x="0" y="0"/>
    </p:cViewPr>
  </p:notesTextViewPr>
  <p:notesViewPr>
    <p:cSldViewPr snapToGrid="0" snapToObjects="1">
      <p:cViewPr varScale="1">
        <p:scale>
          <a:sx n="96" d="100"/>
          <a:sy n="96" d="100"/>
        </p:scale>
        <p:origin x="3688" y="1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D395EA-F110-B24A-AA13-43EC9B1BDFE8}" type="datetimeFigureOut">
              <a:rPr lang="de-DE" smtClean="0"/>
              <a:t>21.07.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82CB35-1B1C-BB4F-93DF-0D8FAB1D0F29}" type="slidenum">
              <a:rPr lang="de-DE" smtClean="0"/>
              <a:t>‹Nr.›</a:t>
            </a:fld>
            <a:endParaRPr lang="de-DE"/>
          </a:p>
        </p:txBody>
      </p:sp>
    </p:spTree>
    <p:extLst>
      <p:ext uri="{BB962C8B-B14F-4D97-AF65-F5344CB8AC3E}">
        <p14:creationId xmlns:p14="http://schemas.microsoft.com/office/powerpoint/2010/main" val="24199561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3B21EE8D-22EA-1A48-8E21-B0A5040D7D23}"/>
              </a:ext>
            </a:extLst>
          </p:cNvPr>
          <p:cNvSpPr>
            <a:spLocks noGrp="1"/>
          </p:cNvSpPr>
          <p:nvPr>
            <p:ph type="dt" sz="half" idx="10"/>
          </p:nvPr>
        </p:nvSpPr>
        <p:spPr>
          <a:xfrm>
            <a:off x="838200" y="6356350"/>
            <a:ext cx="2743200" cy="365125"/>
          </a:xfrm>
          <a:prstGeom prst="rect">
            <a:avLst/>
          </a:prstGeom>
        </p:spPr>
        <p:txBody>
          <a:bodyPr/>
          <a:lstStyle/>
          <a:p>
            <a:fld id="{E3CFE25C-A289-AD49-9DC0-FDAA5376C706}" type="datetimeFigureOut">
              <a:rPr lang="de-DE" smtClean="0"/>
              <a:t>21.07.2022</a:t>
            </a:fld>
            <a:endParaRPr lang="de-DE"/>
          </a:p>
        </p:txBody>
      </p:sp>
      <p:sp>
        <p:nvSpPr>
          <p:cNvPr id="5" name="Fußzeilenplatzhalter 4">
            <a:extLst>
              <a:ext uri="{FF2B5EF4-FFF2-40B4-BE49-F238E27FC236}">
                <a16:creationId xmlns:a16="http://schemas.microsoft.com/office/drawing/2014/main" id="{F1FA5E36-44D7-3C48-B4CA-C6E73752671C}"/>
              </a:ext>
            </a:extLst>
          </p:cNvPr>
          <p:cNvSpPr>
            <a:spLocks noGrp="1"/>
          </p:cNvSpPr>
          <p:nvPr>
            <p:ph type="ftr" sz="quarter" idx="11"/>
          </p:nvPr>
        </p:nvSpPr>
        <p:spPr>
          <a:solidFill>
            <a:schemeClr val="bg1"/>
          </a:solidFill>
        </p:spPr>
        <p:txBody>
          <a:bodyPr/>
          <a:lstStyle/>
          <a:p>
            <a:endParaRPr lang="de-DE"/>
          </a:p>
        </p:txBody>
      </p:sp>
      <p:sp>
        <p:nvSpPr>
          <p:cNvPr id="6" name="Foliennummernplatzhalter 5">
            <a:extLst>
              <a:ext uri="{FF2B5EF4-FFF2-40B4-BE49-F238E27FC236}">
                <a16:creationId xmlns:a16="http://schemas.microsoft.com/office/drawing/2014/main" id="{DE970C07-C1BB-1C4B-A370-7D3AA3F3E8FF}"/>
              </a:ext>
            </a:extLst>
          </p:cNvPr>
          <p:cNvSpPr>
            <a:spLocks noGrp="1"/>
          </p:cNvSpPr>
          <p:nvPr>
            <p:ph type="sldNum" sz="quarter" idx="12"/>
          </p:nvPr>
        </p:nvSpPr>
        <p:spPr/>
        <p:txBody>
          <a:bodyPr/>
          <a:lstStyle/>
          <a:p>
            <a:fld id="{17E9A37E-8B53-3649-A3A8-A3E6C5A0B0BC}" type="slidenum">
              <a:rPr lang="de-DE" smtClean="0"/>
              <a:t>‹Nr.›</a:t>
            </a:fld>
            <a:endParaRPr lang="de-DE"/>
          </a:p>
        </p:txBody>
      </p:sp>
      <p:pic>
        <p:nvPicPr>
          <p:cNvPr id="8" name="Grafik 7" descr="Ein Bild, das Text, Tisch, drinnen, Schreibgerät enthält.&#10;&#10;Automatisch generierte Beschreibung">
            <a:extLst>
              <a:ext uri="{FF2B5EF4-FFF2-40B4-BE49-F238E27FC236}">
                <a16:creationId xmlns:a16="http://schemas.microsoft.com/office/drawing/2014/main" id="{2D887D3A-BC89-1A4A-9DDA-3E3A1B9B3B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9" name="Rectangle 15">
            <a:extLst>
              <a:ext uri="{FF2B5EF4-FFF2-40B4-BE49-F238E27FC236}">
                <a16:creationId xmlns:a16="http://schemas.microsoft.com/office/drawing/2014/main" id="{60763894-A66F-C14E-9605-F85DF225F0A7}"/>
              </a:ext>
            </a:extLst>
          </p:cNvPr>
          <p:cNvSpPr/>
          <p:nvPr userDrawn="1"/>
        </p:nvSpPr>
        <p:spPr>
          <a:xfrm>
            <a:off x="-24421" y="10174"/>
            <a:ext cx="12191999" cy="6858000"/>
          </a:xfrm>
          <a:prstGeom prst="rect">
            <a:avLst/>
          </a:prstGeom>
          <a:solidFill>
            <a:schemeClr val="bg1">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087" dirty="0"/>
          </a:p>
        </p:txBody>
      </p:sp>
      <p:sp>
        <p:nvSpPr>
          <p:cNvPr id="10" name="Freeform 149">
            <a:extLst>
              <a:ext uri="{FF2B5EF4-FFF2-40B4-BE49-F238E27FC236}">
                <a16:creationId xmlns:a16="http://schemas.microsoft.com/office/drawing/2014/main" id="{F29C9D62-88E6-0E47-8E64-8BD42199EBD9}"/>
              </a:ext>
            </a:extLst>
          </p:cNvPr>
          <p:cNvSpPr/>
          <p:nvPr userDrawn="1"/>
        </p:nvSpPr>
        <p:spPr>
          <a:xfrm>
            <a:off x="6768662" y="3278944"/>
            <a:ext cx="5409426" cy="7559675"/>
          </a:xfrm>
          <a:custGeom>
            <a:avLst/>
            <a:gdLst>
              <a:gd name="connsiteX0" fmla="*/ 2483124 w 5460510"/>
              <a:gd name="connsiteY0" fmla="*/ 0 h 5143500"/>
              <a:gd name="connsiteX1" fmla="*/ 3448297 w 5460510"/>
              <a:gd name="connsiteY1" fmla="*/ 0 h 5143500"/>
              <a:gd name="connsiteX2" fmla="*/ 4717679 w 5460510"/>
              <a:gd name="connsiteY2" fmla="*/ 0 h 5143500"/>
              <a:gd name="connsiteX3" fmla="*/ 4741319 w 5460510"/>
              <a:gd name="connsiteY3" fmla="*/ 0 h 5143500"/>
              <a:gd name="connsiteX4" fmla="*/ 5318193 w 5460510"/>
              <a:gd name="connsiteY4" fmla="*/ 0 h 5143500"/>
              <a:gd name="connsiteX5" fmla="*/ 5460510 w 5460510"/>
              <a:gd name="connsiteY5" fmla="*/ 0 h 5143500"/>
              <a:gd name="connsiteX6" fmla="*/ 5460510 w 5460510"/>
              <a:gd name="connsiteY6" fmla="*/ 5143500 h 5143500"/>
              <a:gd name="connsiteX7" fmla="*/ 5318193 w 5460510"/>
              <a:gd name="connsiteY7" fmla="*/ 5143500 h 5143500"/>
              <a:gd name="connsiteX8" fmla="*/ 4741319 w 5460510"/>
              <a:gd name="connsiteY8" fmla="*/ 5143500 h 5143500"/>
              <a:gd name="connsiteX9" fmla="*/ 4717679 w 5460510"/>
              <a:gd name="connsiteY9" fmla="*/ 5143500 h 5143500"/>
              <a:gd name="connsiteX10" fmla="*/ 3448297 w 5460510"/>
              <a:gd name="connsiteY10" fmla="*/ 5143500 h 5143500"/>
              <a:gd name="connsiteX11" fmla="*/ 0 w 546051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60510" h="5143500">
                <a:moveTo>
                  <a:pt x="2483124" y="0"/>
                </a:moveTo>
                <a:lnTo>
                  <a:pt x="3448297" y="0"/>
                </a:lnTo>
                <a:lnTo>
                  <a:pt x="4717679" y="0"/>
                </a:lnTo>
                <a:lnTo>
                  <a:pt x="4741319" y="0"/>
                </a:lnTo>
                <a:lnTo>
                  <a:pt x="5318193" y="0"/>
                </a:lnTo>
                <a:lnTo>
                  <a:pt x="5460510" y="0"/>
                </a:lnTo>
                <a:lnTo>
                  <a:pt x="5460510" y="5143500"/>
                </a:lnTo>
                <a:lnTo>
                  <a:pt x="5318193" y="5143500"/>
                </a:lnTo>
                <a:lnTo>
                  <a:pt x="4741319" y="5143500"/>
                </a:lnTo>
                <a:lnTo>
                  <a:pt x="4717679" y="5143500"/>
                </a:lnTo>
                <a:lnTo>
                  <a:pt x="3448297" y="5143500"/>
                </a:lnTo>
                <a:lnTo>
                  <a:pt x="0" y="5143500"/>
                </a:lnTo>
                <a:close/>
              </a:path>
            </a:pathLst>
          </a:custGeom>
          <a:solidFill>
            <a:srgbClr val="0040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087" dirty="0"/>
          </a:p>
        </p:txBody>
      </p:sp>
      <p:sp>
        <p:nvSpPr>
          <p:cNvPr id="11" name="Rechteck 10">
            <a:extLst>
              <a:ext uri="{FF2B5EF4-FFF2-40B4-BE49-F238E27FC236}">
                <a16:creationId xmlns:a16="http://schemas.microsoft.com/office/drawing/2014/main" id="{3D4484B2-200D-D44D-9D57-23C97121F2BD}"/>
              </a:ext>
            </a:extLst>
          </p:cNvPr>
          <p:cNvSpPr/>
          <p:nvPr userDrawn="1"/>
        </p:nvSpPr>
        <p:spPr bwMode="auto">
          <a:xfrm>
            <a:off x="-10510" y="1558347"/>
            <a:ext cx="13463588" cy="1728000"/>
          </a:xfrm>
          <a:prstGeom prst="rect">
            <a:avLst/>
          </a:prstGeom>
          <a:solidFill>
            <a:schemeClr val="bg1">
              <a:alpha val="70000"/>
            </a:schemeClr>
          </a:solidFill>
          <a:ln w="9525" cap="flat" cmpd="sng" algn="ctr">
            <a:noFill/>
            <a:prstDash val="solid"/>
            <a:round/>
            <a:headEnd type="none" w="med" len="med"/>
            <a:tailEnd type="none" w="med" len="med"/>
          </a:ln>
          <a:effectLst/>
        </p:spPr>
        <p:txBody>
          <a:bodyPr vert="horz" wrap="none" lIns="104400" tIns="52516" rIns="102663" bIns="52516" numCol="1" rtlCol="0" anchor="ctr" anchorCtr="0" compatLnSpc="1">
            <a:prstTxWarp prst="textNoShape">
              <a:avLst/>
            </a:prstTxWarp>
          </a:bodyPr>
          <a:lstStyle/>
          <a:p>
            <a:pPr marL="0" marR="0" indent="0" algn="ctr" defTabSz="995363" rtl="0" eaLnBrk="1" fontAlgn="base" latinLnBrk="0" hangingPunct="1">
              <a:lnSpc>
                <a:spcPct val="100000"/>
              </a:lnSpc>
              <a:spcBef>
                <a:spcPct val="0"/>
              </a:spcBef>
              <a:spcAft>
                <a:spcPct val="0"/>
              </a:spcAft>
              <a:buClr>
                <a:schemeClr val="folHlink"/>
              </a:buClr>
              <a:buSzPct val="75000"/>
              <a:buFont typeface="Arial" charset="0"/>
              <a:buNone/>
              <a:tabLst/>
            </a:pPr>
            <a:endParaRPr kumimoji="0" lang="de-DE" sz="1800" b="0" i="0" u="none" strike="noStrike" cap="none" normalizeH="0" baseline="0">
              <a:ln>
                <a:noFill/>
              </a:ln>
              <a:solidFill>
                <a:schemeClr val="tx2"/>
              </a:solidFill>
              <a:effectLst/>
              <a:latin typeface="Arial" charset="0"/>
            </a:endParaRPr>
          </a:p>
        </p:txBody>
      </p:sp>
      <p:sp>
        <p:nvSpPr>
          <p:cNvPr id="12" name="Textplatzhalter 9">
            <a:extLst>
              <a:ext uri="{FF2B5EF4-FFF2-40B4-BE49-F238E27FC236}">
                <a16:creationId xmlns:a16="http://schemas.microsoft.com/office/drawing/2014/main" id="{379B34A0-3C84-4147-B2FC-6EC445A51FC4}"/>
              </a:ext>
            </a:extLst>
          </p:cNvPr>
          <p:cNvSpPr txBox="1">
            <a:spLocks/>
          </p:cNvSpPr>
          <p:nvPr userDrawn="1"/>
        </p:nvSpPr>
        <p:spPr>
          <a:xfrm>
            <a:off x="474320" y="1804307"/>
            <a:ext cx="8238755" cy="720000"/>
          </a:xfrm>
          <a:prstGeom prst="rect">
            <a:avLst/>
          </a:prstGeom>
          <a:noFill/>
          <a:ln>
            <a:noFill/>
          </a:ln>
        </p:spPr>
        <p:txBody>
          <a:bodyPr vert="horz" wrap="square" lIns="72000" tIns="39600" rIns="0" bIns="0" numCol="1" anchor="b" anchorCtr="0" compatLnSpc="1">
            <a:prstTxWarp prst="textNoShape">
              <a:avLst/>
            </a:prstTxWarp>
            <a:noAutofit/>
          </a:bodyPr>
          <a:lstStyle>
            <a:lvl1pPr marL="0" indent="0" algn="l" defTabSz="978439" rtl="0" eaLnBrk="0" fontAlgn="base" hangingPunct="0">
              <a:spcBef>
                <a:spcPct val="20000"/>
              </a:spcBef>
              <a:spcAft>
                <a:spcPct val="0"/>
              </a:spcAft>
              <a:buClrTx/>
              <a:buSzPct val="100000"/>
              <a:buFont typeface="Arial" panose="020B0604020202020204" pitchFamily="34" charset="0"/>
              <a:buNone/>
              <a:defRPr lang="de-DE" sz="3600" b="1" kern="0" baseline="0" dirty="0">
                <a:solidFill>
                  <a:schemeClr val="tx1"/>
                </a:solidFill>
                <a:latin typeface="Tahoma" charset="0"/>
                <a:ea typeface="ＭＳ Ｐゴシック" charset="0"/>
                <a:cs typeface="Tahoma"/>
              </a:defRPr>
            </a:lvl1pPr>
            <a:lvl2pPr marL="495668" indent="-247834" algn="l" defTabSz="978439" rtl="0" eaLnBrk="0" fontAlgn="base" hangingPunct="0">
              <a:spcBef>
                <a:spcPts val="295"/>
              </a:spcBef>
              <a:spcAft>
                <a:spcPct val="0"/>
              </a:spcAft>
              <a:buClrTx/>
              <a:buSzPct val="100000"/>
              <a:buFont typeface="Symbol" charset="2"/>
              <a:buChar char="-"/>
              <a:defRPr sz="1376" baseline="0">
                <a:solidFill>
                  <a:srgbClr val="404040"/>
                </a:solidFill>
                <a:latin typeface="+mn-lt"/>
                <a:ea typeface="ＭＳ Ｐゴシック" pitchFamily="-109" charset="-128"/>
              </a:defRPr>
            </a:lvl2pPr>
            <a:lvl3pPr marL="601882" indent="-212428" algn="l" defTabSz="978439" rtl="0" eaLnBrk="0" fontAlgn="base" hangingPunct="0">
              <a:spcBef>
                <a:spcPct val="20000"/>
              </a:spcBef>
              <a:spcAft>
                <a:spcPct val="0"/>
              </a:spcAft>
              <a:buClrTx/>
              <a:buSzPct val="100000"/>
              <a:buFont typeface="Symbol" charset="2"/>
              <a:buChar char="-"/>
              <a:defRPr sz="1376" baseline="0">
                <a:solidFill>
                  <a:schemeClr val="bg2"/>
                </a:solidFill>
                <a:latin typeface="Tahoma"/>
                <a:ea typeface="ＭＳ Ｐゴシック" pitchFamily="-109" charset="-128"/>
                <a:cs typeface="Tahoma"/>
              </a:defRPr>
            </a:lvl3pPr>
            <a:lvl4pPr marL="613280" indent="0" algn="l" defTabSz="978439" rtl="0" eaLnBrk="0" fontAlgn="base" hangingPunct="0">
              <a:spcBef>
                <a:spcPct val="20000"/>
              </a:spcBef>
              <a:spcAft>
                <a:spcPct val="0"/>
              </a:spcAft>
              <a:buClr>
                <a:schemeClr val="folHlink"/>
              </a:buClr>
              <a:buSzPct val="100000"/>
              <a:buFont typeface="Arial" charset="0"/>
              <a:buNone/>
              <a:defRPr sz="1376">
                <a:solidFill>
                  <a:srgbClr val="404040"/>
                </a:solidFill>
                <a:latin typeface="+mn-lt"/>
                <a:ea typeface="ＭＳ Ｐゴシック" pitchFamily="-109" charset="-128"/>
              </a:defRPr>
            </a:lvl4pPr>
            <a:lvl5pPr marL="789616" indent="0" algn="l" defTabSz="978439" rtl="0" eaLnBrk="0" fontAlgn="base" hangingPunct="0">
              <a:spcBef>
                <a:spcPct val="20000"/>
              </a:spcBef>
              <a:spcAft>
                <a:spcPct val="0"/>
              </a:spcAft>
              <a:buClr>
                <a:schemeClr val="folHlink"/>
              </a:buClr>
              <a:buSzPct val="100000"/>
              <a:buFont typeface="Arial" charset="0"/>
              <a:buNone/>
              <a:defRPr sz="1376">
                <a:solidFill>
                  <a:srgbClr val="404040"/>
                </a:solidFill>
                <a:latin typeface="+mn-lt"/>
                <a:ea typeface="ＭＳ Ｐゴシック" pitchFamily="-109" charset="-128"/>
              </a:defRPr>
            </a:lvl5pPr>
            <a:lvl6pPr marL="1983407" indent="-380765" algn="l" defTabSz="978439" rtl="0" fontAlgn="base">
              <a:spcBef>
                <a:spcPct val="20000"/>
              </a:spcBef>
              <a:spcAft>
                <a:spcPct val="0"/>
              </a:spcAft>
              <a:buClr>
                <a:schemeClr val="folHlink"/>
              </a:buClr>
              <a:buSzPct val="75000"/>
              <a:buFont typeface="Arial" charset="0"/>
              <a:buChar char="►"/>
              <a:defRPr>
                <a:solidFill>
                  <a:schemeClr val="tx2"/>
                </a:solidFill>
                <a:latin typeface="+mn-lt"/>
              </a:defRPr>
            </a:lvl6pPr>
            <a:lvl7pPr marL="2432832" indent="-380765" algn="l" defTabSz="978439" rtl="0" fontAlgn="base">
              <a:spcBef>
                <a:spcPct val="20000"/>
              </a:spcBef>
              <a:spcAft>
                <a:spcPct val="0"/>
              </a:spcAft>
              <a:buClr>
                <a:schemeClr val="folHlink"/>
              </a:buClr>
              <a:buSzPct val="75000"/>
              <a:buFont typeface="Arial" charset="0"/>
              <a:buChar char="►"/>
              <a:defRPr>
                <a:solidFill>
                  <a:schemeClr val="tx2"/>
                </a:solidFill>
                <a:latin typeface="+mn-lt"/>
              </a:defRPr>
            </a:lvl7pPr>
            <a:lvl8pPr marL="2882261" indent="-380765" algn="l" defTabSz="978439" rtl="0" fontAlgn="base">
              <a:spcBef>
                <a:spcPct val="20000"/>
              </a:spcBef>
              <a:spcAft>
                <a:spcPct val="0"/>
              </a:spcAft>
              <a:buClr>
                <a:schemeClr val="folHlink"/>
              </a:buClr>
              <a:buSzPct val="75000"/>
              <a:buFont typeface="Arial" charset="0"/>
              <a:buChar char="►"/>
              <a:defRPr>
                <a:solidFill>
                  <a:schemeClr val="tx2"/>
                </a:solidFill>
                <a:latin typeface="+mn-lt"/>
              </a:defRPr>
            </a:lvl8pPr>
            <a:lvl9pPr marL="3331684" indent="-380765" algn="l" defTabSz="978439" rtl="0" fontAlgn="base">
              <a:spcBef>
                <a:spcPct val="20000"/>
              </a:spcBef>
              <a:spcAft>
                <a:spcPct val="0"/>
              </a:spcAft>
              <a:buClr>
                <a:schemeClr val="folHlink"/>
              </a:buClr>
              <a:buSzPct val="75000"/>
              <a:buFont typeface="Arial" charset="0"/>
              <a:buChar char="►"/>
              <a:defRPr>
                <a:solidFill>
                  <a:schemeClr val="tx2"/>
                </a:solidFill>
                <a:latin typeface="+mn-lt"/>
              </a:defRPr>
            </a:lvl9pPr>
          </a:lstStyle>
          <a:p>
            <a:pPr eaLnBrk="1" hangingPunct="1">
              <a:spcBef>
                <a:spcPct val="0"/>
              </a:spcBef>
              <a:buClr>
                <a:schemeClr val="folHlink"/>
              </a:buClr>
              <a:buSzPct val="75000"/>
              <a:buFont typeface="Times" charset="0"/>
              <a:buNone/>
            </a:pPr>
            <a:r>
              <a:rPr lang="de-DE" dirty="0"/>
              <a:t>Digitale Informationsveranstaltung</a:t>
            </a:r>
          </a:p>
        </p:txBody>
      </p:sp>
      <p:sp>
        <p:nvSpPr>
          <p:cNvPr id="13" name="Textplatzhalter 11">
            <a:extLst>
              <a:ext uri="{FF2B5EF4-FFF2-40B4-BE49-F238E27FC236}">
                <a16:creationId xmlns:a16="http://schemas.microsoft.com/office/drawing/2014/main" id="{5B71072B-5BC1-7D4B-A221-E6565E74F116}"/>
              </a:ext>
            </a:extLst>
          </p:cNvPr>
          <p:cNvSpPr txBox="1">
            <a:spLocks/>
          </p:cNvSpPr>
          <p:nvPr userDrawn="1"/>
        </p:nvSpPr>
        <p:spPr>
          <a:xfrm>
            <a:off x="474320" y="2555837"/>
            <a:ext cx="8136279" cy="430616"/>
          </a:xfrm>
          <a:prstGeom prst="rect">
            <a:avLst/>
          </a:prstGeom>
          <a:noFill/>
          <a:ln>
            <a:noFill/>
          </a:ln>
        </p:spPr>
        <p:txBody>
          <a:bodyPr vert="horz" wrap="square" lIns="72000" tIns="39600" rIns="0" bIns="0" numCol="1" anchor="ctr" anchorCtr="0" compatLnSpc="1">
            <a:prstTxWarp prst="textNoShape">
              <a:avLst/>
            </a:prstTxWarp>
            <a:noAutofit/>
          </a:bodyPr>
          <a:lstStyle>
            <a:lvl1pPr marL="0" indent="0" algn="l" defTabSz="978439" rtl="0" eaLnBrk="0" fontAlgn="base" hangingPunct="0">
              <a:spcBef>
                <a:spcPct val="20000"/>
              </a:spcBef>
              <a:spcAft>
                <a:spcPct val="0"/>
              </a:spcAft>
              <a:buClrTx/>
              <a:buSzPct val="100000"/>
              <a:buFont typeface="Arial" panose="020B0604020202020204" pitchFamily="34" charset="0"/>
              <a:buNone/>
              <a:defRPr lang="de-DE" sz="2400" b="0" kern="0" baseline="0" dirty="0">
                <a:solidFill>
                  <a:schemeClr val="tx1"/>
                </a:solidFill>
                <a:latin typeface="Tahoma" charset="0"/>
                <a:ea typeface="ＭＳ Ｐゴシック" charset="0"/>
                <a:cs typeface="Tahoma"/>
              </a:defRPr>
            </a:lvl1pPr>
            <a:lvl2pPr marL="495668" indent="-247834" algn="l" defTabSz="978439" rtl="0" eaLnBrk="0" fontAlgn="base" hangingPunct="0">
              <a:spcBef>
                <a:spcPts val="295"/>
              </a:spcBef>
              <a:spcAft>
                <a:spcPct val="0"/>
              </a:spcAft>
              <a:buClrTx/>
              <a:buSzPct val="100000"/>
              <a:buFont typeface="Symbol" charset="2"/>
              <a:buChar char="-"/>
              <a:defRPr sz="1376" baseline="0">
                <a:solidFill>
                  <a:srgbClr val="404040"/>
                </a:solidFill>
                <a:latin typeface="+mn-lt"/>
                <a:ea typeface="ＭＳ Ｐゴシック" pitchFamily="-109" charset="-128"/>
              </a:defRPr>
            </a:lvl2pPr>
            <a:lvl3pPr marL="601882" indent="-212428" algn="l" defTabSz="978439" rtl="0" eaLnBrk="0" fontAlgn="base" hangingPunct="0">
              <a:spcBef>
                <a:spcPct val="20000"/>
              </a:spcBef>
              <a:spcAft>
                <a:spcPct val="0"/>
              </a:spcAft>
              <a:buClrTx/>
              <a:buSzPct val="100000"/>
              <a:buFont typeface="Symbol" charset="2"/>
              <a:buChar char="-"/>
              <a:defRPr sz="1376" baseline="0">
                <a:solidFill>
                  <a:schemeClr val="bg2"/>
                </a:solidFill>
                <a:latin typeface="Tahoma"/>
                <a:ea typeface="ＭＳ Ｐゴシック" pitchFamily="-109" charset="-128"/>
                <a:cs typeface="Tahoma"/>
              </a:defRPr>
            </a:lvl3pPr>
            <a:lvl4pPr marL="613280" indent="0" algn="l" defTabSz="978439" rtl="0" eaLnBrk="0" fontAlgn="base" hangingPunct="0">
              <a:spcBef>
                <a:spcPct val="20000"/>
              </a:spcBef>
              <a:spcAft>
                <a:spcPct val="0"/>
              </a:spcAft>
              <a:buClr>
                <a:schemeClr val="folHlink"/>
              </a:buClr>
              <a:buSzPct val="100000"/>
              <a:buFont typeface="Arial" charset="0"/>
              <a:buNone/>
              <a:defRPr sz="1376">
                <a:solidFill>
                  <a:srgbClr val="404040"/>
                </a:solidFill>
                <a:latin typeface="+mn-lt"/>
                <a:ea typeface="ＭＳ Ｐゴシック" pitchFamily="-109" charset="-128"/>
              </a:defRPr>
            </a:lvl4pPr>
            <a:lvl5pPr marL="789616" indent="0" algn="l" defTabSz="978439" rtl="0" eaLnBrk="0" fontAlgn="base" hangingPunct="0">
              <a:spcBef>
                <a:spcPct val="20000"/>
              </a:spcBef>
              <a:spcAft>
                <a:spcPct val="0"/>
              </a:spcAft>
              <a:buClr>
                <a:schemeClr val="folHlink"/>
              </a:buClr>
              <a:buSzPct val="100000"/>
              <a:buFont typeface="Arial" charset="0"/>
              <a:buNone/>
              <a:defRPr sz="1376">
                <a:solidFill>
                  <a:srgbClr val="404040"/>
                </a:solidFill>
                <a:latin typeface="+mn-lt"/>
                <a:ea typeface="ＭＳ Ｐゴシック" pitchFamily="-109" charset="-128"/>
              </a:defRPr>
            </a:lvl5pPr>
            <a:lvl6pPr marL="1983407" indent="-380765" algn="l" defTabSz="978439" rtl="0" fontAlgn="base">
              <a:spcBef>
                <a:spcPct val="20000"/>
              </a:spcBef>
              <a:spcAft>
                <a:spcPct val="0"/>
              </a:spcAft>
              <a:buClr>
                <a:schemeClr val="folHlink"/>
              </a:buClr>
              <a:buSzPct val="75000"/>
              <a:buFont typeface="Arial" charset="0"/>
              <a:buChar char="►"/>
              <a:defRPr>
                <a:solidFill>
                  <a:schemeClr val="tx2"/>
                </a:solidFill>
                <a:latin typeface="+mn-lt"/>
              </a:defRPr>
            </a:lvl6pPr>
            <a:lvl7pPr marL="2432832" indent="-380765" algn="l" defTabSz="978439" rtl="0" fontAlgn="base">
              <a:spcBef>
                <a:spcPct val="20000"/>
              </a:spcBef>
              <a:spcAft>
                <a:spcPct val="0"/>
              </a:spcAft>
              <a:buClr>
                <a:schemeClr val="folHlink"/>
              </a:buClr>
              <a:buSzPct val="75000"/>
              <a:buFont typeface="Arial" charset="0"/>
              <a:buChar char="►"/>
              <a:defRPr>
                <a:solidFill>
                  <a:schemeClr val="tx2"/>
                </a:solidFill>
                <a:latin typeface="+mn-lt"/>
              </a:defRPr>
            </a:lvl7pPr>
            <a:lvl8pPr marL="2882261" indent="-380765" algn="l" defTabSz="978439" rtl="0" fontAlgn="base">
              <a:spcBef>
                <a:spcPct val="20000"/>
              </a:spcBef>
              <a:spcAft>
                <a:spcPct val="0"/>
              </a:spcAft>
              <a:buClr>
                <a:schemeClr val="folHlink"/>
              </a:buClr>
              <a:buSzPct val="75000"/>
              <a:buFont typeface="Arial" charset="0"/>
              <a:buChar char="►"/>
              <a:defRPr>
                <a:solidFill>
                  <a:schemeClr val="tx2"/>
                </a:solidFill>
                <a:latin typeface="+mn-lt"/>
              </a:defRPr>
            </a:lvl8pPr>
            <a:lvl9pPr marL="3331684" indent="-380765" algn="l" defTabSz="978439" rtl="0" fontAlgn="base">
              <a:spcBef>
                <a:spcPct val="20000"/>
              </a:spcBef>
              <a:spcAft>
                <a:spcPct val="0"/>
              </a:spcAft>
              <a:buClr>
                <a:schemeClr val="folHlink"/>
              </a:buClr>
              <a:buSzPct val="75000"/>
              <a:buFont typeface="Arial" charset="0"/>
              <a:buChar char="►"/>
              <a:defRPr>
                <a:solidFill>
                  <a:schemeClr val="tx2"/>
                </a:solidFill>
                <a:latin typeface="+mn-lt"/>
              </a:defRPr>
            </a:lvl9pPr>
          </a:lstStyle>
          <a:p>
            <a:pPr marL="337069" indent="-337069" eaLnBrk="1" hangingPunct="1">
              <a:spcBef>
                <a:spcPct val="0"/>
              </a:spcBef>
              <a:buClr>
                <a:schemeClr val="folHlink"/>
              </a:buClr>
              <a:buSzPct val="75000"/>
            </a:pPr>
            <a:r>
              <a:rPr lang="de-DE" dirty="0"/>
              <a:t>Zwei Jahre vor der Einschulung</a:t>
            </a:r>
          </a:p>
        </p:txBody>
      </p:sp>
      <p:cxnSp>
        <p:nvCxnSpPr>
          <p:cNvPr id="14" name="Gerader Verbinder 8">
            <a:extLst>
              <a:ext uri="{FF2B5EF4-FFF2-40B4-BE49-F238E27FC236}">
                <a16:creationId xmlns:a16="http://schemas.microsoft.com/office/drawing/2014/main" id="{7E61C775-BC60-BA40-B1C4-1434C7CCA9E7}"/>
              </a:ext>
            </a:extLst>
          </p:cNvPr>
          <p:cNvCxnSpPr>
            <a:cxnSpLocks/>
          </p:cNvCxnSpPr>
          <p:nvPr userDrawn="1"/>
        </p:nvCxnSpPr>
        <p:spPr>
          <a:xfrm>
            <a:off x="474321" y="2555837"/>
            <a:ext cx="8238754"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pic>
        <p:nvPicPr>
          <p:cNvPr id="16" name="Grafik 5">
            <a:extLst>
              <a:ext uri="{FF2B5EF4-FFF2-40B4-BE49-F238E27FC236}">
                <a16:creationId xmlns:a16="http://schemas.microsoft.com/office/drawing/2014/main" id="{A6FF1B3D-3EF0-FF41-A9BB-E8C404DEA66B}"/>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2" y="10174"/>
            <a:ext cx="2552467" cy="82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6">
            <a:extLst>
              <a:ext uri="{FF2B5EF4-FFF2-40B4-BE49-F238E27FC236}">
                <a16:creationId xmlns:a16="http://schemas.microsoft.com/office/drawing/2014/main" id="{063A57DA-FBF9-394D-88AF-8A04FB594991}"/>
              </a:ext>
            </a:extLst>
          </p:cNvPr>
          <p:cNvSpPr txBox="1">
            <a:spLocks noChangeArrowheads="1"/>
          </p:cNvSpPr>
          <p:nvPr userDrawn="1"/>
        </p:nvSpPr>
        <p:spPr>
          <a:xfrm>
            <a:off x="8153400" y="5166812"/>
            <a:ext cx="4392728" cy="553998"/>
          </a:xfrm>
          <a:prstGeom prst="rect">
            <a:avLst/>
          </a:prstGeom>
          <a:noFill/>
          <a:ln algn="ct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1985" tIns="0" rIns="0" bIns="0" numCol="1" anchor="ctr" anchorCtr="0" compatLnSpc="1">
            <a:prstTxWarp prst="textNoShape">
              <a:avLst/>
            </a:prstTxWarp>
            <a:spAutoFit/>
          </a:bodyPr>
          <a:lstStyle>
            <a:lvl1pPr algn="l" defTabSz="994888" rtl="0" eaLnBrk="0" fontAlgn="base" hangingPunct="0">
              <a:lnSpc>
                <a:spcPct val="100000"/>
              </a:lnSpc>
              <a:spcBef>
                <a:spcPct val="0"/>
              </a:spcBef>
              <a:spcAft>
                <a:spcPct val="0"/>
              </a:spcAft>
              <a:buClr>
                <a:schemeClr val="folHlink"/>
              </a:buClr>
              <a:buSzPct val="75000"/>
              <a:buFont typeface="Times" charset="0"/>
              <a:defRPr lang="de-DE" sz="3000" b="1" kern="0">
                <a:solidFill>
                  <a:srgbClr val="404040"/>
                </a:solidFill>
                <a:latin typeface="Tahoma"/>
                <a:ea typeface="ＭＳ Ｐゴシック" pitchFamily="-109" charset="-128"/>
                <a:cs typeface="Tahoma"/>
              </a:defRPr>
            </a:lvl1pPr>
            <a:lvl2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2pPr>
            <a:lvl3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3pPr>
            <a:lvl4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4pPr>
            <a:lvl5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5pPr>
            <a:lvl6pPr marL="456984"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6pPr>
            <a:lvl7pPr marL="913963"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7pPr>
            <a:lvl8pPr marL="1370945"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8pPr>
            <a:lvl9pPr marL="1827926"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9pPr>
          </a:lstStyle>
          <a:p>
            <a:pPr marL="0" indent="0" algn="ctr" eaLnBrk="1" hangingPunct="1">
              <a:buFont typeface="Wingdings" pitchFamily="2" charset="2"/>
              <a:buNone/>
            </a:pPr>
            <a:r>
              <a:rPr lang="de-DE" altLang="de-DE" sz="1200" dirty="0">
                <a:solidFill>
                  <a:schemeClr val="bg1"/>
                </a:solidFill>
              </a:rPr>
              <a:t>in gemeinsamer Verantwortung</a:t>
            </a:r>
          </a:p>
          <a:p>
            <a:pPr marL="0" indent="0" algn="ctr" eaLnBrk="1" hangingPunct="1">
              <a:buFont typeface="Wingdings" pitchFamily="2" charset="2"/>
              <a:buNone/>
            </a:pPr>
            <a:r>
              <a:rPr lang="de-DE" altLang="de-DE" sz="1200" dirty="0">
                <a:solidFill>
                  <a:schemeClr val="bg1"/>
                </a:solidFill>
              </a:rPr>
              <a:t>der Stadt Siegburg, </a:t>
            </a:r>
          </a:p>
          <a:p>
            <a:pPr marL="0" indent="0" algn="ctr" eaLnBrk="1" hangingPunct="1">
              <a:buFont typeface="Wingdings" pitchFamily="2" charset="2"/>
              <a:buNone/>
            </a:pPr>
            <a:r>
              <a:rPr lang="de-DE" altLang="de-DE" sz="1200" dirty="0">
                <a:solidFill>
                  <a:schemeClr val="bg1"/>
                </a:solidFill>
              </a:rPr>
              <a:t>den Grundschulen und Kindertagesstätten.</a:t>
            </a:r>
          </a:p>
        </p:txBody>
      </p:sp>
    </p:spTree>
    <p:extLst>
      <p:ext uri="{BB962C8B-B14F-4D97-AF65-F5344CB8AC3E}">
        <p14:creationId xmlns:p14="http://schemas.microsoft.com/office/powerpoint/2010/main" val="26175980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3B21EE8D-22EA-1A48-8E21-B0A5040D7D23}"/>
              </a:ext>
            </a:extLst>
          </p:cNvPr>
          <p:cNvSpPr>
            <a:spLocks noGrp="1"/>
          </p:cNvSpPr>
          <p:nvPr>
            <p:ph type="dt" sz="half" idx="10"/>
          </p:nvPr>
        </p:nvSpPr>
        <p:spPr>
          <a:xfrm>
            <a:off x="838200" y="6356350"/>
            <a:ext cx="2743200" cy="365125"/>
          </a:xfrm>
          <a:prstGeom prst="rect">
            <a:avLst/>
          </a:prstGeom>
        </p:spPr>
        <p:txBody>
          <a:bodyPr/>
          <a:lstStyle/>
          <a:p>
            <a:fld id="{E3CFE25C-A289-AD49-9DC0-FDAA5376C706}" type="datetimeFigureOut">
              <a:rPr lang="de-DE" smtClean="0"/>
              <a:t>21.07.2022</a:t>
            </a:fld>
            <a:endParaRPr lang="de-DE"/>
          </a:p>
        </p:txBody>
      </p:sp>
      <p:sp>
        <p:nvSpPr>
          <p:cNvPr id="5" name="Fußzeilenplatzhalter 4">
            <a:extLst>
              <a:ext uri="{FF2B5EF4-FFF2-40B4-BE49-F238E27FC236}">
                <a16:creationId xmlns:a16="http://schemas.microsoft.com/office/drawing/2014/main" id="{F1FA5E36-44D7-3C48-B4CA-C6E73752671C}"/>
              </a:ext>
            </a:extLst>
          </p:cNvPr>
          <p:cNvSpPr>
            <a:spLocks noGrp="1"/>
          </p:cNvSpPr>
          <p:nvPr>
            <p:ph type="ftr" sz="quarter" idx="11"/>
          </p:nvPr>
        </p:nvSpPr>
        <p:spPr>
          <a:solidFill>
            <a:schemeClr val="bg1"/>
          </a:solidFill>
        </p:spPr>
        <p:txBody>
          <a:bodyPr/>
          <a:lstStyle/>
          <a:p>
            <a:endParaRPr lang="de-DE"/>
          </a:p>
        </p:txBody>
      </p:sp>
      <p:sp>
        <p:nvSpPr>
          <p:cNvPr id="6" name="Foliennummernplatzhalter 5">
            <a:extLst>
              <a:ext uri="{FF2B5EF4-FFF2-40B4-BE49-F238E27FC236}">
                <a16:creationId xmlns:a16="http://schemas.microsoft.com/office/drawing/2014/main" id="{DE970C07-C1BB-1C4B-A370-7D3AA3F3E8FF}"/>
              </a:ext>
            </a:extLst>
          </p:cNvPr>
          <p:cNvSpPr>
            <a:spLocks noGrp="1"/>
          </p:cNvSpPr>
          <p:nvPr>
            <p:ph type="sldNum" sz="quarter" idx="12"/>
          </p:nvPr>
        </p:nvSpPr>
        <p:spPr/>
        <p:txBody>
          <a:bodyPr/>
          <a:lstStyle/>
          <a:p>
            <a:fld id="{17E9A37E-8B53-3649-A3A8-A3E6C5A0B0BC}" type="slidenum">
              <a:rPr lang="de-DE" smtClean="0"/>
              <a:t>‹Nr.›</a:t>
            </a:fld>
            <a:endParaRPr lang="de-DE"/>
          </a:p>
        </p:txBody>
      </p:sp>
      <p:pic>
        <p:nvPicPr>
          <p:cNvPr id="8" name="Grafik 7" descr="Ein Bild, das Text, Tisch, drinnen, Schreibgerät enthält.&#10;&#10;Automatisch generierte Beschreibung">
            <a:extLst>
              <a:ext uri="{FF2B5EF4-FFF2-40B4-BE49-F238E27FC236}">
                <a16:creationId xmlns:a16="http://schemas.microsoft.com/office/drawing/2014/main" id="{2D887D3A-BC89-1A4A-9DDA-3E3A1B9B3B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0174"/>
            <a:ext cx="12192001" cy="6858000"/>
          </a:xfrm>
          <a:prstGeom prst="rect">
            <a:avLst/>
          </a:prstGeom>
        </p:spPr>
      </p:pic>
      <p:sp>
        <p:nvSpPr>
          <p:cNvPr id="9" name="Rectangle 15">
            <a:extLst>
              <a:ext uri="{FF2B5EF4-FFF2-40B4-BE49-F238E27FC236}">
                <a16:creationId xmlns:a16="http://schemas.microsoft.com/office/drawing/2014/main" id="{60763894-A66F-C14E-9605-F85DF225F0A7}"/>
              </a:ext>
            </a:extLst>
          </p:cNvPr>
          <p:cNvSpPr/>
          <p:nvPr userDrawn="1"/>
        </p:nvSpPr>
        <p:spPr>
          <a:xfrm>
            <a:off x="1" y="10174"/>
            <a:ext cx="12191999" cy="6858000"/>
          </a:xfrm>
          <a:prstGeom prst="rect">
            <a:avLst/>
          </a:prstGeom>
          <a:solidFill>
            <a:schemeClr val="bg1">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087" dirty="0"/>
          </a:p>
        </p:txBody>
      </p:sp>
      <p:sp>
        <p:nvSpPr>
          <p:cNvPr id="11" name="Rechteck 10">
            <a:extLst>
              <a:ext uri="{FF2B5EF4-FFF2-40B4-BE49-F238E27FC236}">
                <a16:creationId xmlns:a16="http://schemas.microsoft.com/office/drawing/2014/main" id="{3D4484B2-200D-D44D-9D57-23C97121F2BD}"/>
              </a:ext>
            </a:extLst>
          </p:cNvPr>
          <p:cNvSpPr/>
          <p:nvPr userDrawn="1"/>
        </p:nvSpPr>
        <p:spPr bwMode="auto">
          <a:xfrm>
            <a:off x="-10510" y="1558347"/>
            <a:ext cx="13463588" cy="1728000"/>
          </a:xfrm>
          <a:prstGeom prst="rect">
            <a:avLst/>
          </a:prstGeom>
          <a:solidFill>
            <a:schemeClr val="bg1">
              <a:alpha val="70000"/>
            </a:schemeClr>
          </a:solidFill>
          <a:ln w="9525" cap="flat" cmpd="sng" algn="ctr">
            <a:noFill/>
            <a:prstDash val="solid"/>
            <a:round/>
            <a:headEnd type="none" w="med" len="med"/>
            <a:tailEnd type="none" w="med" len="med"/>
          </a:ln>
          <a:effectLst/>
        </p:spPr>
        <p:txBody>
          <a:bodyPr vert="horz" wrap="none" lIns="104400" tIns="52516" rIns="102663" bIns="52516" numCol="1" rtlCol="0" anchor="ctr" anchorCtr="0" compatLnSpc="1">
            <a:prstTxWarp prst="textNoShape">
              <a:avLst/>
            </a:prstTxWarp>
          </a:bodyPr>
          <a:lstStyle/>
          <a:p>
            <a:pPr marL="0" marR="0" indent="0" algn="ctr" defTabSz="995363" rtl="0" eaLnBrk="1" fontAlgn="base" latinLnBrk="0" hangingPunct="1">
              <a:lnSpc>
                <a:spcPct val="100000"/>
              </a:lnSpc>
              <a:spcBef>
                <a:spcPct val="0"/>
              </a:spcBef>
              <a:spcAft>
                <a:spcPct val="0"/>
              </a:spcAft>
              <a:buClr>
                <a:schemeClr val="folHlink"/>
              </a:buClr>
              <a:buSzPct val="75000"/>
              <a:buFont typeface="Arial" charset="0"/>
              <a:buNone/>
              <a:tabLst/>
            </a:pPr>
            <a:endParaRPr kumimoji="0" lang="de-DE" sz="1800" b="0" i="0" u="none" strike="noStrike" cap="none" normalizeH="0" baseline="0">
              <a:ln>
                <a:noFill/>
              </a:ln>
              <a:solidFill>
                <a:schemeClr val="tx2"/>
              </a:solidFill>
              <a:effectLst/>
              <a:latin typeface="Arial" charset="0"/>
            </a:endParaRPr>
          </a:p>
        </p:txBody>
      </p:sp>
      <p:sp>
        <p:nvSpPr>
          <p:cNvPr id="12" name="Textplatzhalter 9">
            <a:extLst>
              <a:ext uri="{FF2B5EF4-FFF2-40B4-BE49-F238E27FC236}">
                <a16:creationId xmlns:a16="http://schemas.microsoft.com/office/drawing/2014/main" id="{379B34A0-3C84-4147-B2FC-6EC445A51FC4}"/>
              </a:ext>
            </a:extLst>
          </p:cNvPr>
          <p:cNvSpPr txBox="1">
            <a:spLocks/>
          </p:cNvSpPr>
          <p:nvPr userDrawn="1"/>
        </p:nvSpPr>
        <p:spPr>
          <a:xfrm>
            <a:off x="474320" y="1804307"/>
            <a:ext cx="8238755" cy="720000"/>
          </a:xfrm>
          <a:prstGeom prst="rect">
            <a:avLst/>
          </a:prstGeom>
          <a:noFill/>
          <a:ln>
            <a:noFill/>
          </a:ln>
        </p:spPr>
        <p:txBody>
          <a:bodyPr vert="horz" wrap="square" lIns="72000" tIns="39600" rIns="0" bIns="0" numCol="1" anchor="b" anchorCtr="0" compatLnSpc="1">
            <a:prstTxWarp prst="textNoShape">
              <a:avLst/>
            </a:prstTxWarp>
            <a:noAutofit/>
          </a:bodyPr>
          <a:lstStyle>
            <a:lvl1pPr marL="0" indent="0" algn="l" defTabSz="978439" rtl="0" eaLnBrk="0" fontAlgn="base" hangingPunct="0">
              <a:spcBef>
                <a:spcPct val="20000"/>
              </a:spcBef>
              <a:spcAft>
                <a:spcPct val="0"/>
              </a:spcAft>
              <a:buClrTx/>
              <a:buSzPct val="100000"/>
              <a:buFont typeface="Arial" panose="020B0604020202020204" pitchFamily="34" charset="0"/>
              <a:buNone/>
              <a:defRPr lang="de-DE" sz="3600" b="1" kern="0" baseline="0" dirty="0">
                <a:solidFill>
                  <a:schemeClr val="tx1"/>
                </a:solidFill>
                <a:latin typeface="Tahoma" charset="0"/>
                <a:ea typeface="ＭＳ Ｐゴシック" charset="0"/>
                <a:cs typeface="Tahoma"/>
              </a:defRPr>
            </a:lvl1pPr>
            <a:lvl2pPr marL="495668" indent="-247834" algn="l" defTabSz="978439" rtl="0" eaLnBrk="0" fontAlgn="base" hangingPunct="0">
              <a:spcBef>
                <a:spcPts val="295"/>
              </a:spcBef>
              <a:spcAft>
                <a:spcPct val="0"/>
              </a:spcAft>
              <a:buClrTx/>
              <a:buSzPct val="100000"/>
              <a:buFont typeface="Symbol" charset="2"/>
              <a:buChar char="-"/>
              <a:defRPr sz="1376" baseline="0">
                <a:solidFill>
                  <a:srgbClr val="404040"/>
                </a:solidFill>
                <a:latin typeface="+mn-lt"/>
                <a:ea typeface="ＭＳ Ｐゴシック" pitchFamily="-109" charset="-128"/>
              </a:defRPr>
            </a:lvl2pPr>
            <a:lvl3pPr marL="601882" indent="-212428" algn="l" defTabSz="978439" rtl="0" eaLnBrk="0" fontAlgn="base" hangingPunct="0">
              <a:spcBef>
                <a:spcPct val="20000"/>
              </a:spcBef>
              <a:spcAft>
                <a:spcPct val="0"/>
              </a:spcAft>
              <a:buClrTx/>
              <a:buSzPct val="100000"/>
              <a:buFont typeface="Symbol" charset="2"/>
              <a:buChar char="-"/>
              <a:defRPr sz="1376" baseline="0">
                <a:solidFill>
                  <a:schemeClr val="bg2"/>
                </a:solidFill>
                <a:latin typeface="Tahoma"/>
                <a:ea typeface="ＭＳ Ｐゴシック" pitchFamily="-109" charset="-128"/>
                <a:cs typeface="Tahoma"/>
              </a:defRPr>
            </a:lvl3pPr>
            <a:lvl4pPr marL="613280" indent="0" algn="l" defTabSz="978439" rtl="0" eaLnBrk="0" fontAlgn="base" hangingPunct="0">
              <a:spcBef>
                <a:spcPct val="20000"/>
              </a:spcBef>
              <a:spcAft>
                <a:spcPct val="0"/>
              </a:spcAft>
              <a:buClr>
                <a:schemeClr val="folHlink"/>
              </a:buClr>
              <a:buSzPct val="100000"/>
              <a:buFont typeface="Arial" charset="0"/>
              <a:buNone/>
              <a:defRPr sz="1376">
                <a:solidFill>
                  <a:srgbClr val="404040"/>
                </a:solidFill>
                <a:latin typeface="+mn-lt"/>
                <a:ea typeface="ＭＳ Ｐゴシック" pitchFamily="-109" charset="-128"/>
              </a:defRPr>
            </a:lvl4pPr>
            <a:lvl5pPr marL="789616" indent="0" algn="l" defTabSz="978439" rtl="0" eaLnBrk="0" fontAlgn="base" hangingPunct="0">
              <a:spcBef>
                <a:spcPct val="20000"/>
              </a:spcBef>
              <a:spcAft>
                <a:spcPct val="0"/>
              </a:spcAft>
              <a:buClr>
                <a:schemeClr val="folHlink"/>
              </a:buClr>
              <a:buSzPct val="100000"/>
              <a:buFont typeface="Arial" charset="0"/>
              <a:buNone/>
              <a:defRPr sz="1376">
                <a:solidFill>
                  <a:srgbClr val="404040"/>
                </a:solidFill>
                <a:latin typeface="+mn-lt"/>
                <a:ea typeface="ＭＳ Ｐゴシック" pitchFamily="-109" charset="-128"/>
              </a:defRPr>
            </a:lvl5pPr>
            <a:lvl6pPr marL="1983407" indent="-380765" algn="l" defTabSz="978439" rtl="0" fontAlgn="base">
              <a:spcBef>
                <a:spcPct val="20000"/>
              </a:spcBef>
              <a:spcAft>
                <a:spcPct val="0"/>
              </a:spcAft>
              <a:buClr>
                <a:schemeClr val="folHlink"/>
              </a:buClr>
              <a:buSzPct val="75000"/>
              <a:buFont typeface="Arial" charset="0"/>
              <a:buChar char="►"/>
              <a:defRPr>
                <a:solidFill>
                  <a:schemeClr val="tx2"/>
                </a:solidFill>
                <a:latin typeface="+mn-lt"/>
              </a:defRPr>
            </a:lvl6pPr>
            <a:lvl7pPr marL="2432832" indent="-380765" algn="l" defTabSz="978439" rtl="0" fontAlgn="base">
              <a:spcBef>
                <a:spcPct val="20000"/>
              </a:spcBef>
              <a:spcAft>
                <a:spcPct val="0"/>
              </a:spcAft>
              <a:buClr>
                <a:schemeClr val="folHlink"/>
              </a:buClr>
              <a:buSzPct val="75000"/>
              <a:buFont typeface="Arial" charset="0"/>
              <a:buChar char="►"/>
              <a:defRPr>
                <a:solidFill>
                  <a:schemeClr val="tx2"/>
                </a:solidFill>
                <a:latin typeface="+mn-lt"/>
              </a:defRPr>
            </a:lvl7pPr>
            <a:lvl8pPr marL="2882261" indent="-380765" algn="l" defTabSz="978439" rtl="0" fontAlgn="base">
              <a:spcBef>
                <a:spcPct val="20000"/>
              </a:spcBef>
              <a:spcAft>
                <a:spcPct val="0"/>
              </a:spcAft>
              <a:buClr>
                <a:schemeClr val="folHlink"/>
              </a:buClr>
              <a:buSzPct val="75000"/>
              <a:buFont typeface="Arial" charset="0"/>
              <a:buChar char="►"/>
              <a:defRPr>
                <a:solidFill>
                  <a:schemeClr val="tx2"/>
                </a:solidFill>
                <a:latin typeface="+mn-lt"/>
              </a:defRPr>
            </a:lvl8pPr>
            <a:lvl9pPr marL="3331684" indent="-380765" algn="l" defTabSz="978439" rtl="0" fontAlgn="base">
              <a:spcBef>
                <a:spcPct val="20000"/>
              </a:spcBef>
              <a:spcAft>
                <a:spcPct val="0"/>
              </a:spcAft>
              <a:buClr>
                <a:schemeClr val="folHlink"/>
              </a:buClr>
              <a:buSzPct val="75000"/>
              <a:buFont typeface="Arial" charset="0"/>
              <a:buChar char="►"/>
              <a:defRPr>
                <a:solidFill>
                  <a:schemeClr val="tx2"/>
                </a:solidFill>
                <a:latin typeface="+mn-lt"/>
              </a:defRPr>
            </a:lvl9pPr>
          </a:lstStyle>
          <a:p>
            <a:pPr eaLnBrk="1" hangingPunct="1">
              <a:spcBef>
                <a:spcPct val="0"/>
              </a:spcBef>
              <a:buClr>
                <a:schemeClr val="folHlink"/>
              </a:buClr>
              <a:buSzPct val="75000"/>
              <a:buFont typeface="Times" charset="0"/>
              <a:buNone/>
            </a:pPr>
            <a:r>
              <a:rPr lang="de-DE" dirty="0"/>
              <a:t>Digitale Informationsveranstaltung</a:t>
            </a:r>
          </a:p>
        </p:txBody>
      </p:sp>
      <p:sp>
        <p:nvSpPr>
          <p:cNvPr id="13" name="Textplatzhalter 11">
            <a:extLst>
              <a:ext uri="{FF2B5EF4-FFF2-40B4-BE49-F238E27FC236}">
                <a16:creationId xmlns:a16="http://schemas.microsoft.com/office/drawing/2014/main" id="{5B71072B-5BC1-7D4B-A221-E6565E74F116}"/>
              </a:ext>
            </a:extLst>
          </p:cNvPr>
          <p:cNvSpPr txBox="1">
            <a:spLocks/>
          </p:cNvSpPr>
          <p:nvPr userDrawn="1"/>
        </p:nvSpPr>
        <p:spPr>
          <a:xfrm>
            <a:off x="474320" y="2555837"/>
            <a:ext cx="8136279" cy="430616"/>
          </a:xfrm>
          <a:prstGeom prst="rect">
            <a:avLst/>
          </a:prstGeom>
          <a:noFill/>
          <a:ln>
            <a:noFill/>
          </a:ln>
        </p:spPr>
        <p:txBody>
          <a:bodyPr vert="horz" wrap="square" lIns="72000" tIns="39600" rIns="0" bIns="0" numCol="1" anchor="ctr" anchorCtr="0" compatLnSpc="1">
            <a:prstTxWarp prst="textNoShape">
              <a:avLst/>
            </a:prstTxWarp>
            <a:noAutofit/>
          </a:bodyPr>
          <a:lstStyle>
            <a:lvl1pPr marL="0" indent="0" algn="l" defTabSz="978439" rtl="0" eaLnBrk="0" fontAlgn="base" hangingPunct="0">
              <a:spcBef>
                <a:spcPct val="20000"/>
              </a:spcBef>
              <a:spcAft>
                <a:spcPct val="0"/>
              </a:spcAft>
              <a:buClrTx/>
              <a:buSzPct val="100000"/>
              <a:buFont typeface="Arial" panose="020B0604020202020204" pitchFamily="34" charset="0"/>
              <a:buNone/>
              <a:defRPr lang="de-DE" sz="2400" b="0" kern="0" baseline="0" dirty="0">
                <a:solidFill>
                  <a:schemeClr val="tx1"/>
                </a:solidFill>
                <a:latin typeface="Tahoma" charset="0"/>
                <a:ea typeface="ＭＳ Ｐゴシック" charset="0"/>
                <a:cs typeface="Tahoma"/>
              </a:defRPr>
            </a:lvl1pPr>
            <a:lvl2pPr marL="495668" indent="-247834" algn="l" defTabSz="978439" rtl="0" eaLnBrk="0" fontAlgn="base" hangingPunct="0">
              <a:spcBef>
                <a:spcPts val="295"/>
              </a:spcBef>
              <a:spcAft>
                <a:spcPct val="0"/>
              </a:spcAft>
              <a:buClrTx/>
              <a:buSzPct val="100000"/>
              <a:buFont typeface="Symbol" charset="2"/>
              <a:buChar char="-"/>
              <a:defRPr sz="1376" baseline="0">
                <a:solidFill>
                  <a:srgbClr val="404040"/>
                </a:solidFill>
                <a:latin typeface="+mn-lt"/>
                <a:ea typeface="ＭＳ Ｐゴシック" pitchFamily="-109" charset="-128"/>
              </a:defRPr>
            </a:lvl2pPr>
            <a:lvl3pPr marL="601882" indent="-212428" algn="l" defTabSz="978439" rtl="0" eaLnBrk="0" fontAlgn="base" hangingPunct="0">
              <a:spcBef>
                <a:spcPct val="20000"/>
              </a:spcBef>
              <a:spcAft>
                <a:spcPct val="0"/>
              </a:spcAft>
              <a:buClrTx/>
              <a:buSzPct val="100000"/>
              <a:buFont typeface="Symbol" charset="2"/>
              <a:buChar char="-"/>
              <a:defRPr sz="1376" baseline="0">
                <a:solidFill>
                  <a:schemeClr val="bg2"/>
                </a:solidFill>
                <a:latin typeface="Tahoma"/>
                <a:ea typeface="ＭＳ Ｐゴシック" pitchFamily="-109" charset="-128"/>
                <a:cs typeface="Tahoma"/>
              </a:defRPr>
            </a:lvl3pPr>
            <a:lvl4pPr marL="613280" indent="0" algn="l" defTabSz="978439" rtl="0" eaLnBrk="0" fontAlgn="base" hangingPunct="0">
              <a:spcBef>
                <a:spcPct val="20000"/>
              </a:spcBef>
              <a:spcAft>
                <a:spcPct val="0"/>
              </a:spcAft>
              <a:buClr>
                <a:schemeClr val="folHlink"/>
              </a:buClr>
              <a:buSzPct val="100000"/>
              <a:buFont typeface="Arial" charset="0"/>
              <a:buNone/>
              <a:defRPr sz="1376">
                <a:solidFill>
                  <a:srgbClr val="404040"/>
                </a:solidFill>
                <a:latin typeface="+mn-lt"/>
                <a:ea typeface="ＭＳ Ｐゴシック" pitchFamily="-109" charset="-128"/>
              </a:defRPr>
            </a:lvl4pPr>
            <a:lvl5pPr marL="789616" indent="0" algn="l" defTabSz="978439" rtl="0" eaLnBrk="0" fontAlgn="base" hangingPunct="0">
              <a:spcBef>
                <a:spcPct val="20000"/>
              </a:spcBef>
              <a:spcAft>
                <a:spcPct val="0"/>
              </a:spcAft>
              <a:buClr>
                <a:schemeClr val="folHlink"/>
              </a:buClr>
              <a:buSzPct val="100000"/>
              <a:buFont typeface="Arial" charset="0"/>
              <a:buNone/>
              <a:defRPr sz="1376">
                <a:solidFill>
                  <a:srgbClr val="404040"/>
                </a:solidFill>
                <a:latin typeface="+mn-lt"/>
                <a:ea typeface="ＭＳ Ｐゴシック" pitchFamily="-109" charset="-128"/>
              </a:defRPr>
            </a:lvl5pPr>
            <a:lvl6pPr marL="1983407" indent="-380765" algn="l" defTabSz="978439" rtl="0" fontAlgn="base">
              <a:spcBef>
                <a:spcPct val="20000"/>
              </a:spcBef>
              <a:spcAft>
                <a:spcPct val="0"/>
              </a:spcAft>
              <a:buClr>
                <a:schemeClr val="folHlink"/>
              </a:buClr>
              <a:buSzPct val="75000"/>
              <a:buFont typeface="Arial" charset="0"/>
              <a:buChar char="►"/>
              <a:defRPr>
                <a:solidFill>
                  <a:schemeClr val="tx2"/>
                </a:solidFill>
                <a:latin typeface="+mn-lt"/>
              </a:defRPr>
            </a:lvl6pPr>
            <a:lvl7pPr marL="2432832" indent="-380765" algn="l" defTabSz="978439" rtl="0" fontAlgn="base">
              <a:spcBef>
                <a:spcPct val="20000"/>
              </a:spcBef>
              <a:spcAft>
                <a:spcPct val="0"/>
              </a:spcAft>
              <a:buClr>
                <a:schemeClr val="folHlink"/>
              </a:buClr>
              <a:buSzPct val="75000"/>
              <a:buFont typeface="Arial" charset="0"/>
              <a:buChar char="►"/>
              <a:defRPr>
                <a:solidFill>
                  <a:schemeClr val="tx2"/>
                </a:solidFill>
                <a:latin typeface="+mn-lt"/>
              </a:defRPr>
            </a:lvl7pPr>
            <a:lvl8pPr marL="2882261" indent="-380765" algn="l" defTabSz="978439" rtl="0" fontAlgn="base">
              <a:spcBef>
                <a:spcPct val="20000"/>
              </a:spcBef>
              <a:spcAft>
                <a:spcPct val="0"/>
              </a:spcAft>
              <a:buClr>
                <a:schemeClr val="folHlink"/>
              </a:buClr>
              <a:buSzPct val="75000"/>
              <a:buFont typeface="Arial" charset="0"/>
              <a:buChar char="►"/>
              <a:defRPr>
                <a:solidFill>
                  <a:schemeClr val="tx2"/>
                </a:solidFill>
                <a:latin typeface="+mn-lt"/>
              </a:defRPr>
            </a:lvl8pPr>
            <a:lvl9pPr marL="3331684" indent="-380765" algn="l" defTabSz="978439" rtl="0" fontAlgn="base">
              <a:spcBef>
                <a:spcPct val="20000"/>
              </a:spcBef>
              <a:spcAft>
                <a:spcPct val="0"/>
              </a:spcAft>
              <a:buClr>
                <a:schemeClr val="folHlink"/>
              </a:buClr>
              <a:buSzPct val="75000"/>
              <a:buFont typeface="Arial" charset="0"/>
              <a:buChar char="►"/>
              <a:defRPr>
                <a:solidFill>
                  <a:schemeClr val="tx2"/>
                </a:solidFill>
                <a:latin typeface="+mn-lt"/>
              </a:defRPr>
            </a:lvl9pPr>
          </a:lstStyle>
          <a:p>
            <a:pPr marL="337069" indent="-337069" eaLnBrk="1" hangingPunct="1">
              <a:spcBef>
                <a:spcPct val="0"/>
              </a:spcBef>
              <a:buClr>
                <a:schemeClr val="folHlink"/>
              </a:buClr>
              <a:buSzPct val="75000"/>
            </a:pPr>
            <a:r>
              <a:rPr lang="de-DE" dirty="0"/>
              <a:t>Zwei Jahre vor der Einschulung</a:t>
            </a:r>
          </a:p>
        </p:txBody>
      </p:sp>
      <p:cxnSp>
        <p:nvCxnSpPr>
          <p:cNvPr id="14" name="Gerader Verbinder 8">
            <a:extLst>
              <a:ext uri="{FF2B5EF4-FFF2-40B4-BE49-F238E27FC236}">
                <a16:creationId xmlns:a16="http://schemas.microsoft.com/office/drawing/2014/main" id="{7E61C775-BC60-BA40-B1C4-1434C7CCA9E7}"/>
              </a:ext>
            </a:extLst>
          </p:cNvPr>
          <p:cNvCxnSpPr>
            <a:cxnSpLocks/>
          </p:cNvCxnSpPr>
          <p:nvPr userDrawn="1"/>
        </p:nvCxnSpPr>
        <p:spPr>
          <a:xfrm>
            <a:off x="474321" y="2555837"/>
            <a:ext cx="8238754"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pic>
        <p:nvPicPr>
          <p:cNvPr id="16" name="Grafik 5">
            <a:extLst>
              <a:ext uri="{FF2B5EF4-FFF2-40B4-BE49-F238E27FC236}">
                <a16:creationId xmlns:a16="http://schemas.microsoft.com/office/drawing/2014/main" id="{A6FF1B3D-3EF0-FF41-A9BB-E8C404DEA66B}"/>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2" y="10174"/>
            <a:ext cx="2552467" cy="82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hteck 1">
            <a:extLst>
              <a:ext uri="{FF2B5EF4-FFF2-40B4-BE49-F238E27FC236}">
                <a16:creationId xmlns:a16="http://schemas.microsoft.com/office/drawing/2014/main" id="{C7FE07AB-4EC7-444E-A2C6-AD579EDD0735}"/>
              </a:ext>
            </a:extLst>
          </p:cNvPr>
          <p:cNvSpPr/>
          <p:nvPr userDrawn="1"/>
        </p:nvSpPr>
        <p:spPr>
          <a:xfrm>
            <a:off x="8518967" y="5382229"/>
            <a:ext cx="3472405" cy="1168114"/>
          </a:xfrm>
          <a:prstGeom prst="rect">
            <a:avLst/>
          </a:prstGeom>
          <a:solidFill>
            <a:schemeClr val="bg1">
              <a:alpha val="6316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tangle 6">
            <a:extLst>
              <a:ext uri="{FF2B5EF4-FFF2-40B4-BE49-F238E27FC236}">
                <a16:creationId xmlns:a16="http://schemas.microsoft.com/office/drawing/2014/main" id="{063A57DA-FBF9-394D-88AF-8A04FB594991}"/>
              </a:ext>
            </a:extLst>
          </p:cNvPr>
          <p:cNvSpPr txBox="1">
            <a:spLocks noChangeArrowheads="1"/>
          </p:cNvSpPr>
          <p:nvPr userDrawn="1"/>
        </p:nvSpPr>
        <p:spPr>
          <a:xfrm>
            <a:off x="8058805" y="5476413"/>
            <a:ext cx="4392728" cy="984885"/>
          </a:xfrm>
          <a:prstGeom prst="rect">
            <a:avLst/>
          </a:prstGeom>
          <a:noFill/>
          <a:ln algn="ct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1985" tIns="0" rIns="0" bIns="0" numCol="1" anchor="ctr" anchorCtr="0" compatLnSpc="1">
            <a:prstTxWarp prst="textNoShape">
              <a:avLst/>
            </a:prstTxWarp>
            <a:spAutoFit/>
          </a:bodyPr>
          <a:lstStyle>
            <a:lvl1pPr algn="l" defTabSz="994888" rtl="0" eaLnBrk="0" fontAlgn="base" hangingPunct="0">
              <a:lnSpc>
                <a:spcPct val="100000"/>
              </a:lnSpc>
              <a:spcBef>
                <a:spcPct val="0"/>
              </a:spcBef>
              <a:spcAft>
                <a:spcPct val="0"/>
              </a:spcAft>
              <a:buClr>
                <a:schemeClr val="folHlink"/>
              </a:buClr>
              <a:buSzPct val="75000"/>
              <a:buFont typeface="Times" charset="0"/>
              <a:defRPr lang="de-DE" sz="3000" b="1" kern="0">
                <a:solidFill>
                  <a:srgbClr val="404040"/>
                </a:solidFill>
                <a:latin typeface="Tahoma"/>
                <a:ea typeface="ＭＳ Ｐゴシック" pitchFamily="-109" charset="-128"/>
                <a:cs typeface="Tahoma"/>
              </a:defRPr>
            </a:lvl1pPr>
            <a:lvl2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2pPr>
            <a:lvl3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3pPr>
            <a:lvl4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4pPr>
            <a:lvl5pPr algn="l" defTabSz="994888" rtl="0" eaLnBrk="0" fontAlgn="base" hangingPunct="0">
              <a:spcBef>
                <a:spcPct val="0"/>
              </a:spcBef>
              <a:spcAft>
                <a:spcPct val="0"/>
              </a:spcAft>
              <a:buClr>
                <a:schemeClr val="folHlink"/>
              </a:buClr>
              <a:buSzPct val="75000"/>
              <a:buFont typeface="Times" charset="0"/>
              <a:defRPr sz="2100" b="1">
                <a:solidFill>
                  <a:schemeClr val="tx2"/>
                </a:solidFill>
                <a:latin typeface="Tahoma" pitchFamily="34" charset="0"/>
                <a:ea typeface="ＭＳ Ｐゴシック" pitchFamily="-109" charset="-128"/>
                <a:cs typeface="ＭＳ Ｐゴシック" charset="0"/>
              </a:defRPr>
            </a:lvl5pPr>
            <a:lvl6pPr marL="456984"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6pPr>
            <a:lvl7pPr marL="913963"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7pPr>
            <a:lvl8pPr marL="1370945"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8pPr>
            <a:lvl9pPr marL="1827926" algn="l" defTabSz="994888" rtl="0"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9pPr>
          </a:lstStyle>
          <a:p>
            <a:pPr marL="0" indent="0" algn="ctr" eaLnBrk="1" hangingPunct="1">
              <a:buFont typeface="Wingdings" pitchFamily="2" charset="2"/>
              <a:buNone/>
            </a:pPr>
            <a:r>
              <a:rPr lang="de-DE" altLang="de-DE" sz="1600" dirty="0">
                <a:solidFill>
                  <a:schemeClr val="bg1">
                    <a:lumMod val="65000"/>
                  </a:schemeClr>
                </a:solidFill>
              </a:rPr>
              <a:t>In gemeinsamer Verantwortung</a:t>
            </a:r>
          </a:p>
          <a:p>
            <a:pPr marL="0" indent="0" algn="ctr" eaLnBrk="1" hangingPunct="1">
              <a:buFont typeface="Wingdings" pitchFamily="2" charset="2"/>
              <a:buNone/>
            </a:pPr>
            <a:r>
              <a:rPr lang="de-DE" altLang="de-DE" sz="1600" dirty="0">
                <a:solidFill>
                  <a:schemeClr val="bg1">
                    <a:lumMod val="65000"/>
                  </a:schemeClr>
                </a:solidFill>
              </a:rPr>
              <a:t>der Stadt Siegburg, </a:t>
            </a:r>
          </a:p>
          <a:p>
            <a:pPr marL="0" indent="0" algn="ctr" eaLnBrk="1" hangingPunct="1">
              <a:buFont typeface="Wingdings" pitchFamily="2" charset="2"/>
              <a:buNone/>
            </a:pPr>
            <a:r>
              <a:rPr lang="de-DE" altLang="de-DE" sz="1600" dirty="0">
                <a:solidFill>
                  <a:schemeClr val="bg1">
                    <a:lumMod val="65000"/>
                  </a:schemeClr>
                </a:solidFill>
              </a:rPr>
              <a:t>den Grundschulen und Kindertagesstätten</a:t>
            </a:r>
          </a:p>
        </p:txBody>
      </p:sp>
    </p:spTree>
    <p:extLst>
      <p:ext uri="{BB962C8B-B14F-4D97-AF65-F5344CB8AC3E}">
        <p14:creationId xmlns:p14="http://schemas.microsoft.com/office/powerpoint/2010/main" val="755732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ohne Inhalt">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DD977057-AAC6-9F4F-80AB-02682F0D15A8}"/>
              </a:ext>
            </a:extLst>
          </p:cNvPr>
          <p:cNvSpPr/>
          <p:nvPr userDrawn="1"/>
        </p:nvSpPr>
        <p:spPr>
          <a:xfrm>
            <a:off x="0" y="6415506"/>
            <a:ext cx="12192000" cy="442494"/>
          </a:xfrm>
          <a:prstGeom prst="rect">
            <a:avLst/>
          </a:prstGeom>
          <a:solidFill>
            <a:srgbClr val="0040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4100769665"/>
              </p:ext>
            </p:extLst>
          </p:nvPr>
        </p:nvGraphicFramePr>
        <p:xfrm>
          <a:off x="1811" y="1445"/>
          <a:ext cx="1810" cy="1439"/>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2" name="Objekt 1" hidden="1"/>
                      <p:cNvPicPr/>
                      <p:nvPr/>
                    </p:nvPicPr>
                    <p:blipFill>
                      <a:blip r:embed="rId4"/>
                      <a:stretch>
                        <a:fillRect/>
                      </a:stretch>
                    </p:blipFill>
                    <p:spPr>
                      <a:xfrm>
                        <a:off x="1811" y="1445"/>
                        <a:ext cx="1810" cy="1439"/>
                      </a:xfrm>
                      <a:prstGeom prst="rect">
                        <a:avLst/>
                      </a:prstGeom>
                    </p:spPr>
                  </p:pic>
                </p:oleObj>
              </mc:Fallback>
            </mc:AlternateContent>
          </a:graphicData>
        </a:graphic>
      </p:graphicFrame>
      <p:sp>
        <p:nvSpPr>
          <p:cNvPr id="15" name="Foliennummernplatzhalter 7"/>
          <p:cNvSpPr>
            <a:spLocks noGrp="1"/>
          </p:cNvSpPr>
          <p:nvPr>
            <p:ph type="sldNum" sz="quarter" idx="4"/>
          </p:nvPr>
        </p:nvSpPr>
        <p:spPr>
          <a:xfrm>
            <a:off x="293253" y="6488913"/>
            <a:ext cx="408755" cy="295680"/>
          </a:xfrm>
          <a:prstGeom prst="rect">
            <a:avLst/>
          </a:prstGeom>
        </p:spPr>
        <p:txBody>
          <a:bodyPr vert="horz" wrap="none" lIns="0" tIns="0" rIns="0" bIns="0" rtlCol="0" anchor="ctr"/>
          <a:lstStyle>
            <a:lvl1pPr algn="r" rtl="0">
              <a:defRPr sz="952" b="1">
                <a:solidFill>
                  <a:schemeClr val="bg1"/>
                </a:solidFill>
                <a:latin typeface="+mj-lt"/>
                <a:ea typeface="Verdana" pitchFamily="34" charset="0"/>
                <a:cs typeface="Verdana" pitchFamily="34" charset="0"/>
              </a:defRPr>
            </a:lvl1pPr>
          </a:lstStyle>
          <a:p>
            <a:r>
              <a:rPr lang="de-DE"/>
              <a:t>1</a:t>
            </a:r>
            <a:endParaRPr lang="de-DE" dirty="0"/>
          </a:p>
        </p:txBody>
      </p:sp>
      <p:sp>
        <p:nvSpPr>
          <p:cNvPr id="16" name="Titelplatzhalter 3"/>
          <p:cNvSpPr>
            <a:spLocks noGrp="1"/>
          </p:cNvSpPr>
          <p:nvPr>
            <p:ph type="title" hasCustomPrompt="1"/>
          </p:nvPr>
        </p:nvSpPr>
        <p:spPr>
          <a:xfrm>
            <a:off x="373172" y="453004"/>
            <a:ext cx="11445656" cy="7970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39600" rIns="0" bIns="0" numCol="1" anchor="t" anchorCtr="0" compatLnSpc="1">
            <a:prstTxWarp prst="textNoShape">
              <a:avLst/>
            </a:prstTxWarp>
          </a:bodyPr>
          <a:lstStyle>
            <a:lvl1pPr rtl="0">
              <a:defRPr sz="2538">
                <a:latin typeface="Calibri" panose="020F0502020204030204" pitchFamily="34" charset="0"/>
                <a:cs typeface="Calibri" panose="020F0502020204030204" pitchFamily="34" charset="0"/>
              </a:defRPr>
            </a:lvl1pPr>
          </a:lstStyle>
          <a:p>
            <a:pPr marL="0" lvl="0" latinLnBrk="0"/>
            <a:r>
              <a:rPr lang="de-DE"/>
              <a:t>Actiontitle</a:t>
            </a:r>
          </a:p>
        </p:txBody>
      </p:sp>
      <p:sp>
        <p:nvSpPr>
          <p:cNvPr id="3" name="Textplatzhalter 2"/>
          <p:cNvSpPr>
            <a:spLocks noGrp="1"/>
          </p:cNvSpPr>
          <p:nvPr>
            <p:ph type="body" sz="quarter" idx="10" hasCustomPrompt="1"/>
          </p:nvPr>
        </p:nvSpPr>
        <p:spPr>
          <a:xfrm>
            <a:off x="373172" y="264040"/>
            <a:ext cx="5334843" cy="3149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39600" rIns="0" bIns="0" numCol="1" anchor="t" anchorCtr="0" compatLnSpc="1">
            <a:prstTxWarp prst="textNoShape">
              <a:avLst/>
            </a:prstTxWarp>
          </a:bodyPr>
          <a:lstStyle>
            <a:lvl1pPr marL="0" indent="0" rtl="0">
              <a:buNone/>
              <a:defRPr lang="de-DE" sz="1451" b="1" kern="0" dirty="0" smtClean="0">
                <a:solidFill>
                  <a:schemeClr val="bg1">
                    <a:lumMod val="65000"/>
                  </a:schemeClr>
                </a:solidFill>
                <a:latin typeface="Calibri" panose="020F0502020204030204" pitchFamily="34" charset="0"/>
                <a:cs typeface="Calibri" panose="020F0502020204030204" pitchFamily="34" charset="0"/>
              </a:defRPr>
            </a:lvl1pPr>
          </a:lstStyle>
          <a:p>
            <a:pPr marL="0" lvl="0" latinLnBrk="0">
              <a:spcBef>
                <a:spcPct val="0"/>
              </a:spcBef>
              <a:buClr>
                <a:schemeClr val="folHlink"/>
              </a:buClr>
              <a:buSzPct val="75000"/>
              <a:buFont typeface="Times" charset="0"/>
            </a:pPr>
            <a:r>
              <a:rPr lang="de-DE" sz="1269">
                <a:solidFill>
                  <a:schemeClr val="bg1">
                    <a:lumMod val="65000"/>
                  </a:schemeClr>
                </a:solidFill>
              </a:rPr>
              <a:t>TITLE</a:t>
            </a:r>
          </a:p>
        </p:txBody>
      </p:sp>
      <p:sp>
        <p:nvSpPr>
          <p:cNvPr id="8" name="Datumsplatzhalter 2">
            <a:extLst>
              <a:ext uri="{FF2B5EF4-FFF2-40B4-BE49-F238E27FC236}">
                <a16:creationId xmlns:a16="http://schemas.microsoft.com/office/drawing/2014/main" id="{63695BE2-47FB-564B-B492-8C9137A988E6}"/>
              </a:ext>
            </a:extLst>
          </p:cNvPr>
          <p:cNvSpPr>
            <a:spLocks noGrp="1"/>
          </p:cNvSpPr>
          <p:nvPr>
            <p:ph type="dt" sz="half" idx="11"/>
          </p:nvPr>
        </p:nvSpPr>
        <p:spPr>
          <a:xfrm>
            <a:off x="816312" y="6488913"/>
            <a:ext cx="4239240" cy="293742"/>
          </a:xfrm>
          <a:prstGeom prst="rect">
            <a:avLst/>
          </a:prstGeom>
        </p:spPr>
        <p:txBody>
          <a:bodyPr vert="horz" wrap="none" lIns="0" tIns="0" rIns="0" bIns="0" rtlCol="0" anchor="ctr"/>
          <a:lstStyle>
            <a:lvl1pPr algn="l" rtl="0">
              <a:defRPr sz="1088">
                <a:solidFill>
                  <a:schemeClr val="bg1"/>
                </a:solidFill>
                <a:latin typeface="Calibri" panose="020F0502020204030204" pitchFamily="34" charset="0"/>
                <a:ea typeface="Verdana" pitchFamily="34" charset="0"/>
                <a:cs typeface="Calibri" panose="020F0502020204030204" pitchFamily="34" charset="0"/>
              </a:defRPr>
            </a:lvl1pPr>
          </a:lstStyle>
          <a:p>
            <a:r>
              <a:rPr lang="de-DE"/>
              <a:t> | Siegburg---</a:t>
            </a:r>
            <a:endParaRPr lang="de-DE" dirty="0"/>
          </a:p>
        </p:txBody>
      </p:sp>
      <p:pic>
        <p:nvPicPr>
          <p:cNvPr id="10" name="Grafik 5">
            <a:extLst>
              <a:ext uri="{FF2B5EF4-FFF2-40B4-BE49-F238E27FC236}">
                <a16:creationId xmlns:a16="http://schemas.microsoft.com/office/drawing/2014/main" id="{94500513-3CBA-DF4A-A45E-DC2A9CFD3A3F}"/>
              </a:ext>
            </a:extLst>
          </p:cNvPr>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10794179" y="6410251"/>
            <a:ext cx="1408331" cy="453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322739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F15CD19A-67C6-DB4F-9E08-BC79A558EC5F}"/>
              </a:ext>
            </a:extLst>
          </p:cNvPr>
          <p:cNvSpPr>
            <a:spLocks noGrp="1"/>
          </p:cNvSpPr>
          <p:nvPr>
            <p:ph type="dt" sz="half" idx="10"/>
          </p:nvPr>
        </p:nvSpPr>
        <p:spPr>
          <a:xfrm>
            <a:off x="838200" y="6356350"/>
            <a:ext cx="2743200" cy="365125"/>
          </a:xfrm>
          <a:prstGeom prst="rect">
            <a:avLst/>
          </a:prstGeom>
        </p:spPr>
        <p:txBody>
          <a:bodyPr/>
          <a:lstStyle/>
          <a:p>
            <a:fld id="{E3CFE25C-A289-AD49-9DC0-FDAA5376C706}" type="datetimeFigureOut">
              <a:rPr lang="de-DE" smtClean="0"/>
              <a:t>21.07.2022</a:t>
            </a:fld>
            <a:endParaRPr lang="de-DE"/>
          </a:p>
        </p:txBody>
      </p:sp>
      <p:sp>
        <p:nvSpPr>
          <p:cNvPr id="3" name="Fußzeilenplatzhalter 2">
            <a:extLst>
              <a:ext uri="{FF2B5EF4-FFF2-40B4-BE49-F238E27FC236}">
                <a16:creationId xmlns:a16="http://schemas.microsoft.com/office/drawing/2014/main" id="{F433356D-609A-FA41-8817-EED6C0814060}"/>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EA2C17D8-3073-8F45-8605-06013B025B86}"/>
              </a:ext>
            </a:extLst>
          </p:cNvPr>
          <p:cNvSpPr>
            <a:spLocks noGrp="1"/>
          </p:cNvSpPr>
          <p:nvPr>
            <p:ph type="sldNum" sz="quarter" idx="12"/>
          </p:nvPr>
        </p:nvSpPr>
        <p:spPr/>
        <p:txBody>
          <a:bodyPr/>
          <a:lstStyle/>
          <a:p>
            <a:fld id="{17E9A37E-8B53-3649-A3A8-A3E6C5A0B0BC}" type="slidenum">
              <a:rPr lang="de-DE" smtClean="0"/>
              <a:t>‹Nr.›</a:t>
            </a:fld>
            <a:endParaRPr lang="de-DE"/>
          </a:p>
        </p:txBody>
      </p:sp>
      <p:pic>
        <p:nvPicPr>
          <p:cNvPr id="6" name="Grafik 5" descr="Ein Bild, das Person, Wand, darstellend, drinnen enthält.&#10;&#10;Automatisch generierte Beschreibung">
            <a:extLst>
              <a:ext uri="{FF2B5EF4-FFF2-40B4-BE49-F238E27FC236}">
                <a16:creationId xmlns:a16="http://schemas.microsoft.com/office/drawing/2014/main" id="{2B1BDE12-75D4-E449-A9B7-E1CE30D993E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2000" cy="6858000"/>
          </a:xfrm>
          <a:prstGeom prst="rect">
            <a:avLst/>
          </a:prstGeom>
        </p:spPr>
      </p:pic>
      <p:sp>
        <p:nvSpPr>
          <p:cNvPr id="7" name="Textfeld 6">
            <a:extLst>
              <a:ext uri="{FF2B5EF4-FFF2-40B4-BE49-F238E27FC236}">
                <a16:creationId xmlns:a16="http://schemas.microsoft.com/office/drawing/2014/main" id="{F3D5DE31-8F7A-194D-AC0C-7C85580778DB}"/>
              </a:ext>
            </a:extLst>
          </p:cNvPr>
          <p:cNvSpPr txBox="1"/>
          <p:nvPr userDrawn="1"/>
        </p:nvSpPr>
        <p:spPr>
          <a:xfrm>
            <a:off x="-667606" y="-264634"/>
            <a:ext cx="13463587" cy="7559675"/>
          </a:xfrm>
          <a:prstGeom prst="rect">
            <a:avLst/>
          </a:prstGeom>
          <a:solidFill>
            <a:schemeClr val="tx1">
              <a:lumMod val="75000"/>
              <a:lumOff val="25000"/>
              <a:alpha val="69804"/>
            </a:schemeClr>
          </a:solidFill>
          <a:ln>
            <a:noFill/>
          </a:ln>
        </p:spPr>
        <p:style>
          <a:lnRef idx="0">
            <a:scrgbClr r="0" g="0" b="0"/>
          </a:lnRef>
          <a:fillRef idx="0">
            <a:scrgbClr r="0" g="0" b="0"/>
          </a:fillRef>
          <a:effectRef idx="0">
            <a:scrgbClr r="0" g="0" b="0"/>
          </a:effectRef>
          <a:fontRef idx="minor">
            <a:schemeClr val="lt1"/>
          </a:fontRef>
        </p:style>
        <p:txBody>
          <a:bodyPr wrap="none" rtlCol="0" anchor="ctr">
            <a:noAutofit/>
          </a:bodyPr>
          <a:lstStyle/>
          <a:p>
            <a:pPr marL="0" marR="0" lvl="0" indent="0" algn="ctr" defTabSz="1025289" rtl="0" eaLnBrk="1" fontAlgn="auto" latinLnBrk="0" hangingPunct="1">
              <a:lnSpc>
                <a:spcPct val="100000"/>
              </a:lnSpc>
              <a:spcBef>
                <a:spcPts val="0"/>
              </a:spcBef>
              <a:spcAft>
                <a:spcPts val="0"/>
              </a:spcAft>
              <a:buClr>
                <a:srgbClr val="404040"/>
              </a:buClr>
              <a:buSzPct val="100000"/>
              <a:buFontTx/>
              <a:buNone/>
              <a:tabLst/>
              <a:defRPr/>
            </a:pPr>
            <a:endParaRPr kumimoji="0" lang="de-DE" sz="4339" b="1" i="0" u="none" strike="noStrike" kern="1200" cap="none" spc="0" normalizeH="0" baseline="0" noProof="0" dirty="0">
              <a:ln>
                <a:noFill/>
              </a:ln>
              <a:solidFill>
                <a:srgbClr val="FFFFFF"/>
              </a:solidFill>
              <a:effectLst/>
              <a:uLnTx/>
              <a:uFillTx/>
              <a:latin typeface="Tahoma"/>
              <a:ea typeface="+mn-ea"/>
              <a:cs typeface="+mn-cs"/>
            </a:endParaRPr>
          </a:p>
        </p:txBody>
      </p:sp>
      <p:sp>
        <p:nvSpPr>
          <p:cNvPr id="9" name="Titel 3">
            <a:extLst>
              <a:ext uri="{FF2B5EF4-FFF2-40B4-BE49-F238E27FC236}">
                <a16:creationId xmlns:a16="http://schemas.microsoft.com/office/drawing/2014/main" id="{AD44D2E4-32DC-CB4F-AA7D-5361B830668B}"/>
              </a:ext>
            </a:extLst>
          </p:cNvPr>
          <p:cNvSpPr txBox="1">
            <a:spLocks/>
          </p:cNvSpPr>
          <p:nvPr userDrawn="1"/>
        </p:nvSpPr>
        <p:spPr>
          <a:xfrm>
            <a:off x="1229540" y="1017891"/>
            <a:ext cx="9732920" cy="4822215"/>
          </a:xfrm>
          <a:prstGeom prst="rect">
            <a:avLst/>
          </a:prstGeom>
          <a:noFill/>
          <a:ln w="19050">
            <a:solidFill>
              <a:schemeClr val="bg1"/>
            </a:solidFill>
            <a:miter lim="800000"/>
            <a:headEnd/>
            <a:tailEnd/>
          </a:ln>
        </p:spPr>
        <p:txBody>
          <a:bodyPr vert="horz" wrap="square" lIns="0" tIns="39606" rIns="0" bIns="0" numCol="1" anchor="t" anchorCtr="0" compatLnSpc="1">
            <a:prstTxWarp prst="textNoShape">
              <a:avLst/>
            </a:prstTxWarp>
          </a:bodyPr>
          <a:lstStyle>
            <a:lvl1pPr defTabSz="994888" eaLnBrk="0" fontAlgn="base" hangingPunct="0">
              <a:spcBef>
                <a:spcPct val="0"/>
              </a:spcBef>
              <a:spcAft>
                <a:spcPct val="0"/>
              </a:spcAft>
              <a:buClr>
                <a:schemeClr val="folHlink"/>
              </a:buClr>
              <a:buSzPct val="75000"/>
              <a:buFont typeface="Times" charset="0"/>
              <a:defRPr lang="de-DE" sz="2000" b="1" kern="0" smtClean="0">
                <a:solidFill>
                  <a:srgbClr val="404040"/>
                </a:solidFill>
                <a:latin typeface="Tahoma"/>
                <a:ea typeface="ＭＳ Ｐゴシック" pitchFamily="-109" charset="-128"/>
                <a:cs typeface="Tahoma"/>
              </a:defRPr>
            </a:lvl1pPr>
            <a:lvl2pPr defTabSz="994888" eaLnBrk="0" fontAlgn="base" hangingPunct="0">
              <a:spcBef>
                <a:spcPct val="0"/>
              </a:spcBef>
              <a:spcAft>
                <a:spcPct val="0"/>
              </a:spcAft>
              <a:buClr>
                <a:schemeClr val="folHlink"/>
              </a:buClr>
              <a:buSzPct val="75000"/>
              <a:buFont typeface="Times" charset="0"/>
              <a:defRPr b="1">
                <a:solidFill>
                  <a:schemeClr val="tx2"/>
                </a:solidFill>
                <a:latin typeface="Tahoma" pitchFamily="34" charset="0"/>
                <a:ea typeface="ＭＳ Ｐゴシック" pitchFamily="-109" charset="-128"/>
                <a:cs typeface="ＭＳ Ｐゴシック" charset="0"/>
              </a:defRPr>
            </a:lvl2pPr>
            <a:lvl3pPr defTabSz="994888" eaLnBrk="0" fontAlgn="base" hangingPunct="0">
              <a:spcBef>
                <a:spcPct val="0"/>
              </a:spcBef>
              <a:spcAft>
                <a:spcPct val="0"/>
              </a:spcAft>
              <a:buClr>
                <a:schemeClr val="folHlink"/>
              </a:buClr>
              <a:buSzPct val="75000"/>
              <a:buFont typeface="Times" charset="0"/>
              <a:defRPr b="1">
                <a:solidFill>
                  <a:schemeClr val="tx2"/>
                </a:solidFill>
                <a:latin typeface="Tahoma" pitchFamily="34" charset="0"/>
                <a:ea typeface="ＭＳ Ｐゴシック" pitchFamily="-109" charset="-128"/>
                <a:cs typeface="ＭＳ Ｐゴシック" charset="0"/>
              </a:defRPr>
            </a:lvl3pPr>
            <a:lvl4pPr defTabSz="994888" eaLnBrk="0" fontAlgn="base" hangingPunct="0">
              <a:spcBef>
                <a:spcPct val="0"/>
              </a:spcBef>
              <a:spcAft>
                <a:spcPct val="0"/>
              </a:spcAft>
              <a:buClr>
                <a:schemeClr val="folHlink"/>
              </a:buClr>
              <a:buSzPct val="75000"/>
              <a:buFont typeface="Times" charset="0"/>
              <a:defRPr b="1">
                <a:solidFill>
                  <a:schemeClr val="tx2"/>
                </a:solidFill>
                <a:latin typeface="Tahoma" pitchFamily="34" charset="0"/>
                <a:ea typeface="ＭＳ Ｐゴシック" pitchFamily="-109" charset="-128"/>
                <a:cs typeface="ＭＳ Ｐゴシック" charset="0"/>
              </a:defRPr>
            </a:lvl4pPr>
            <a:lvl5pPr defTabSz="994888" eaLnBrk="0" fontAlgn="base" hangingPunct="0">
              <a:spcBef>
                <a:spcPct val="0"/>
              </a:spcBef>
              <a:spcAft>
                <a:spcPct val="0"/>
              </a:spcAft>
              <a:buClr>
                <a:schemeClr val="folHlink"/>
              </a:buClr>
              <a:buSzPct val="75000"/>
              <a:buFont typeface="Times" charset="0"/>
              <a:defRPr b="1">
                <a:solidFill>
                  <a:schemeClr val="tx2"/>
                </a:solidFill>
                <a:latin typeface="Tahoma" pitchFamily="34" charset="0"/>
                <a:ea typeface="ＭＳ Ｐゴシック" pitchFamily="-109" charset="-128"/>
                <a:cs typeface="ＭＳ Ｐゴシック" charset="0"/>
              </a:defRPr>
            </a:lvl5pPr>
            <a:lvl6pPr marL="456984" defTabSz="994888"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6pPr>
            <a:lvl7pPr marL="913963" defTabSz="994888"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7pPr>
            <a:lvl8pPr marL="1370945" defTabSz="994888"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8pPr>
            <a:lvl9pPr marL="1827926" defTabSz="994888" fontAlgn="base">
              <a:lnSpc>
                <a:spcPct val="85000"/>
              </a:lnSpc>
              <a:spcBef>
                <a:spcPct val="0"/>
              </a:spcBef>
              <a:spcAft>
                <a:spcPct val="0"/>
              </a:spcAft>
              <a:buClr>
                <a:schemeClr val="folHlink"/>
              </a:buClr>
              <a:buSzPct val="75000"/>
              <a:buFont typeface="Times" pitchFamily="18" charset="0"/>
              <a:defRPr sz="3300" b="1">
                <a:solidFill>
                  <a:schemeClr val="tx2"/>
                </a:solidFill>
                <a:latin typeface="Arial" charset="0"/>
              </a:defRPr>
            </a:lvl9pPr>
          </a:lstStyle>
          <a:p>
            <a:pPr marL="0" marR="0" lvl="0" indent="0" algn="ctr" defTabSz="978536" rtl="0" eaLnBrk="0" fontAlgn="base" latinLnBrk="0" hangingPunct="0">
              <a:lnSpc>
                <a:spcPct val="100000"/>
              </a:lnSpc>
              <a:spcBef>
                <a:spcPct val="0"/>
              </a:spcBef>
              <a:spcAft>
                <a:spcPct val="0"/>
              </a:spcAft>
              <a:buClr>
                <a:srgbClr val="954F72"/>
              </a:buClr>
              <a:buSzPct val="75000"/>
              <a:buFont typeface="Times" charset="0"/>
              <a:buNone/>
              <a:tabLst/>
              <a:defRPr/>
            </a:pPr>
            <a:endParaRPr kumimoji="0" lang="de-DE" sz="3147" b="1" i="0" u="none" strike="noStrike" kern="0" cap="none" spc="0" normalizeH="0" baseline="0" noProof="0" dirty="0">
              <a:ln>
                <a:noFill/>
              </a:ln>
              <a:solidFill>
                <a:srgbClr val="FFFFFF"/>
              </a:solidFill>
              <a:effectLst/>
              <a:uLnTx/>
              <a:uFillTx/>
              <a:latin typeface="Georgia" panose="02040502050405020303" pitchFamily="18" charset="0"/>
              <a:ea typeface="ＭＳ Ｐゴシック" pitchFamily="-109" charset="-128"/>
              <a:cs typeface="Tahoma"/>
            </a:endParaRPr>
          </a:p>
        </p:txBody>
      </p:sp>
      <p:cxnSp>
        <p:nvCxnSpPr>
          <p:cNvPr id="10" name="Gerader Verbinder 9">
            <a:extLst>
              <a:ext uri="{FF2B5EF4-FFF2-40B4-BE49-F238E27FC236}">
                <a16:creationId xmlns:a16="http://schemas.microsoft.com/office/drawing/2014/main" id="{66DE0905-1953-E641-BCCF-003AA6583283}"/>
              </a:ext>
            </a:extLst>
          </p:cNvPr>
          <p:cNvCxnSpPr/>
          <p:nvPr userDrawn="1"/>
        </p:nvCxnSpPr>
        <p:spPr bwMode="auto">
          <a:xfrm>
            <a:off x="3392813" y="3291575"/>
            <a:ext cx="5406375" cy="0"/>
          </a:xfrm>
          <a:prstGeom prst="line">
            <a:avLst/>
          </a:prstGeom>
          <a:solidFill>
            <a:schemeClr val="bg1"/>
          </a:solidFill>
          <a:ln w="38100" cap="flat" cmpd="sng" algn="ctr">
            <a:gradFill flip="none" rotWithShape="1">
              <a:gsLst>
                <a:gs pos="75000">
                  <a:srgbClr val="FFFFFF">
                    <a:alpha val="50000"/>
                  </a:srgbClr>
                </a:gs>
                <a:gs pos="50000">
                  <a:schemeClr val="bg1"/>
                </a:gs>
                <a:gs pos="25000">
                  <a:srgbClr val="FFFFFF">
                    <a:alpha val="50000"/>
                  </a:srgbClr>
                </a:gs>
                <a:gs pos="0">
                  <a:schemeClr val="bg1">
                    <a:alpha val="0"/>
                  </a:schemeClr>
                </a:gs>
                <a:gs pos="100000">
                  <a:schemeClr val="bg1">
                    <a:alpha val="0"/>
                  </a:schemeClr>
                </a:gs>
              </a:gsLst>
              <a:lin ang="0" scaled="1"/>
              <a:tileRect/>
            </a:gradFill>
            <a:prstDash val="solid"/>
            <a:round/>
            <a:headEnd type="none" w="med" len="med"/>
            <a:tailEnd type="none" w="med" len="med"/>
          </a:ln>
          <a:effectLst/>
        </p:spPr>
      </p:cxnSp>
      <p:sp>
        <p:nvSpPr>
          <p:cNvPr id="11" name="Rechteck 10">
            <a:extLst>
              <a:ext uri="{FF2B5EF4-FFF2-40B4-BE49-F238E27FC236}">
                <a16:creationId xmlns:a16="http://schemas.microsoft.com/office/drawing/2014/main" id="{6BFD70A4-B722-3445-ADBB-F3043E7E463F}"/>
              </a:ext>
            </a:extLst>
          </p:cNvPr>
          <p:cNvSpPr/>
          <p:nvPr userDrawn="1"/>
        </p:nvSpPr>
        <p:spPr>
          <a:xfrm>
            <a:off x="1979324" y="2228160"/>
            <a:ext cx="8247771" cy="707886"/>
          </a:xfrm>
          <a:prstGeom prst="rect">
            <a:avLst/>
          </a:prstGeom>
        </p:spPr>
        <p:txBody>
          <a:bodyPr wrap="none" anchor="ctr">
            <a:spAutoFit/>
          </a:bodyPr>
          <a:lstStyle/>
          <a:p>
            <a:pPr marL="0" indent="0" algn="ctr">
              <a:buFont typeface="Wingdings" pitchFamily="2" charset="2"/>
              <a:buNone/>
            </a:pPr>
            <a:r>
              <a:rPr lang="de-DE" altLang="de-DE" sz="4000" b="1" dirty="0">
                <a:solidFill>
                  <a:schemeClr val="bg1"/>
                </a:solidFill>
              </a:rPr>
              <a:t>Vielen Dank für Ihre Aufmerksamkeit!</a:t>
            </a:r>
          </a:p>
        </p:txBody>
      </p:sp>
      <p:sp>
        <p:nvSpPr>
          <p:cNvPr id="12" name="Rechteck 11">
            <a:extLst>
              <a:ext uri="{FF2B5EF4-FFF2-40B4-BE49-F238E27FC236}">
                <a16:creationId xmlns:a16="http://schemas.microsoft.com/office/drawing/2014/main" id="{9783AF1A-5E7B-B442-8AC3-880A431B224F}"/>
              </a:ext>
            </a:extLst>
          </p:cNvPr>
          <p:cNvSpPr/>
          <p:nvPr userDrawn="1"/>
        </p:nvSpPr>
        <p:spPr>
          <a:xfrm>
            <a:off x="10533552" y="5941291"/>
            <a:ext cx="1688405" cy="830997"/>
          </a:xfrm>
          <a:prstGeom prst="rect">
            <a:avLst/>
          </a:prstGeom>
        </p:spPr>
        <p:txBody>
          <a:bodyPr wrap="square" anchor="ctr">
            <a:spAutoFit/>
          </a:bodyPr>
          <a:lstStyle/>
          <a:p>
            <a:pPr marL="0" marR="0" lvl="0" indent="0" algn="ctr" defTabSz="978536" rtl="0" eaLnBrk="0" fontAlgn="base" latinLnBrk="0" hangingPunct="0">
              <a:lnSpc>
                <a:spcPct val="100000"/>
              </a:lnSpc>
              <a:spcBef>
                <a:spcPct val="0"/>
              </a:spcBef>
              <a:spcAft>
                <a:spcPct val="0"/>
              </a:spcAft>
              <a:buClr>
                <a:srgbClr val="954F72"/>
              </a:buClr>
              <a:buSzPct val="75000"/>
              <a:buFont typeface="Times" charset="0"/>
              <a:buNone/>
              <a:tabLst/>
              <a:defRPr/>
            </a:pPr>
            <a:r>
              <a:rPr kumimoji="0" lang="de-DE" sz="800" b="1" i="0" u="none" strike="noStrike" kern="0" cap="none" spc="0" normalizeH="0" baseline="0" noProof="0" dirty="0">
                <a:ln>
                  <a:noFill/>
                </a:ln>
                <a:solidFill>
                  <a:srgbClr val="C0C0C0"/>
                </a:solidFill>
                <a:effectLst/>
                <a:uLnTx/>
                <a:uFillTx/>
                <a:latin typeface="Georgia" panose="02040502050405020303" pitchFamily="18" charset="0"/>
                <a:ea typeface="ＭＳ Ｐゴシック" pitchFamily="-109" charset="-128"/>
                <a:cs typeface="Tahoma"/>
              </a:rPr>
              <a:t>In Kooperation </a:t>
            </a:r>
          </a:p>
          <a:p>
            <a:pPr marL="0" marR="0" lvl="0" indent="0" algn="ctr" defTabSz="978536" rtl="0" eaLnBrk="0" fontAlgn="base" latinLnBrk="0" hangingPunct="0">
              <a:lnSpc>
                <a:spcPct val="100000"/>
              </a:lnSpc>
              <a:spcBef>
                <a:spcPct val="0"/>
              </a:spcBef>
              <a:spcAft>
                <a:spcPct val="0"/>
              </a:spcAft>
              <a:buClr>
                <a:srgbClr val="954F72"/>
              </a:buClr>
              <a:buSzPct val="75000"/>
              <a:buFont typeface="Times" charset="0"/>
              <a:buNone/>
              <a:tabLst/>
              <a:defRPr/>
            </a:pPr>
            <a:r>
              <a:rPr kumimoji="0" lang="de-DE" sz="800" b="1" i="0" u="none" strike="noStrike" kern="0" cap="none" spc="0" normalizeH="0" baseline="0" noProof="0" dirty="0">
                <a:ln>
                  <a:noFill/>
                </a:ln>
                <a:solidFill>
                  <a:srgbClr val="C0C0C0"/>
                </a:solidFill>
                <a:effectLst/>
                <a:uLnTx/>
                <a:uFillTx/>
                <a:latin typeface="Georgia" panose="02040502050405020303" pitchFamily="18" charset="0"/>
                <a:ea typeface="ＭＳ Ｐゴシック" pitchFamily="-109" charset="-128"/>
                <a:cs typeface="Tahoma"/>
              </a:rPr>
              <a:t>der Siegburger Kindertageseinrichtungen, </a:t>
            </a:r>
          </a:p>
          <a:p>
            <a:pPr marL="0" marR="0" lvl="0" indent="0" algn="ctr" defTabSz="978536" rtl="0" eaLnBrk="0" fontAlgn="base" latinLnBrk="0" hangingPunct="0">
              <a:lnSpc>
                <a:spcPct val="100000"/>
              </a:lnSpc>
              <a:spcBef>
                <a:spcPct val="0"/>
              </a:spcBef>
              <a:spcAft>
                <a:spcPct val="0"/>
              </a:spcAft>
              <a:buClr>
                <a:srgbClr val="954F72"/>
              </a:buClr>
              <a:buSzPct val="75000"/>
              <a:buFont typeface="Times" charset="0"/>
              <a:buNone/>
              <a:tabLst/>
              <a:defRPr/>
            </a:pPr>
            <a:r>
              <a:rPr kumimoji="0" lang="de-DE" sz="800" b="1" i="0" u="none" strike="noStrike" kern="0" cap="none" spc="0" normalizeH="0" baseline="0" noProof="0" dirty="0">
                <a:ln>
                  <a:noFill/>
                </a:ln>
                <a:solidFill>
                  <a:srgbClr val="C0C0C0"/>
                </a:solidFill>
                <a:effectLst/>
                <a:uLnTx/>
                <a:uFillTx/>
                <a:latin typeface="Georgia" panose="02040502050405020303" pitchFamily="18" charset="0"/>
                <a:ea typeface="ＭＳ Ｐゴシック" pitchFamily="-109" charset="-128"/>
                <a:cs typeface="Tahoma"/>
              </a:rPr>
              <a:t>der Siegburger Grundschulen </a:t>
            </a:r>
          </a:p>
          <a:p>
            <a:pPr marL="0" marR="0" lvl="0" indent="0" algn="ctr" defTabSz="978536" rtl="0" eaLnBrk="0" fontAlgn="base" latinLnBrk="0" hangingPunct="0">
              <a:lnSpc>
                <a:spcPct val="100000"/>
              </a:lnSpc>
              <a:spcBef>
                <a:spcPct val="0"/>
              </a:spcBef>
              <a:spcAft>
                <a:spcPct val="0"/>
              </a:spcAft>
              <a:buClr>
                <a:srgbClr val="954F72"/>
              </a:buClr>
              <a:buSzPct val="75000"/>
              <a:buFont typeface="Times" charset="0"/>
              <a:buNone/>
              <a:tabLst/>
              <a:defRPr/>
            </a:pPr>
            <a:r>
              <a:rPr kumimoji="0" lang="de-DE" sz="800" b="1" i="0" u="none" strike="noStrike" kern="0" cap="none" spc="0" normalizeH="0" baseline="0" noProof="0" dirty="0">
                <a:ln>
                  <a:noFill/>
                </a:ln>
                <a:solidFill>
                  <a:srgbClr val="C0C0C0"/>
                </a:solidFill>
                <a:effectLst/>
                <a:uLnTx/>
                <a:uFillTx/>
                <a:latin typeface="Georgia" panose="02040502050405020303" pitchFamily="18" charset="0"/>
                <a:ea typeface="ＭＳ Ｐゴシック" pitchFamily="-109" charset="-128"/>
                <a:cs typeface="Tahoma"/>
              </a:rPr>
              <a:t>und der Stadt Siegburg.</a:t>
            </a:r>
          </a:p>
        </p:txBody>
      </p:sp>
      <p:pic>
        <p:nvPicPr>
          <p:cNvPr id="14" name="Grafik 5">
            <a:extLst>
              <a:ext uri="{FF2B5EF4-FFF2-40B4-BE49-F238E27FC236}">
                <a16:creationId xmlns:a16="http://schemas.microsoft.com/office/drawing/2014/main" id="{3789A108-0FEC-4F43-B691-17979BE5F1FA}"/>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2" y="10174"/>
            <a:ext cx="2552467" cy="82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hteck 12">
            <a:extLst>
              <a:ext uri="{FF2B5EF4-FFF2-40B4-BE49-F238E27FC236}">
                <a16:creationId xmlns:a16="http://schemas.microsoft.com/office/drawing/2014/main" id="{889733AD-5E3A-4530-9340-0DF48F0FE7BB}"/>
              </a:ext>
            </a:extLst>
          </p:cNvPr>
          <p:cNvSpPr/>
          <p:nvPr userDrawn="1"/>
        </p:nvSpPr>
        <p:spPr>
          <a:xfrm>
            <a:off x="3254248" y="3556320"/>
            <a:ext cx="5697921" cy="1938992"/>
          </a:xfrm>
          <a:prstGeom prst="rect">
            <a:avLst/>
          </a:prstGeom>
        </p:spPr>
        <p:txBody>
          <a:bodyPr wrap="square" anchor="ctr">
            <a:spAutoFit/>
          </a:bodyPr>
          <a:lstStyle/>
          <a:p>
            <a:pPr marL="0" marR="0" lvl="0" indent="0" algn="ctr" defTabSz="978536" rtl="0" eaLnBrk="0" fontAlgn="base" latinLnBrk="0" hangingPunct="0">
              <a:lnSpc>
                <a:spcPct val="100000"/>
              </a:lnSpc>
              <a:spcBef>
                <a:spcPct val="0"/>
              </a:spcBef>
              <a:spcAft>
                <a:spcPct val="0"/>
              </a:spcAft>
              <a:buClr>
                <a:srgbClr val="954F72"/>
              </a:buClr>
              <a:buSzPct val="75000"/>
              <a:buFont typeface="Times" charset="0"/>
              <a:buNone/>
              <a:tabLst/>
              <a:defRPr/>
            </a:pPr>
            <a:r>
              <a:rPr kumimoji="0" lang="de-DE" sz="2400" b="1" i="0" u="none" strike="noStrike" kern="0" cap="none" spc="0" normalizeH="0" baseline="0" noProof="0" dirty="0">
                <a:ln>
                  <a:noFill/>
                </a:ln>
                <a:solidFill>
                  <a:srgbClr val="FFFFFF"/>
                </a:solidFill>
                <a:effectLst/>
                <a:uLnTx/>
                <a:uFillTx/>
                <a:latin typeface="Georgia" panose="02040502050405020303" pitchFamily="18" charset="0"/>
                <a:ea typeface="ＭＳ Ｐゴシック" pitchFamily="-109" charset="-128"/>
                <a:cs typeface="Tahoma"/>
              </a:rPr>
              <a:t>Bei weiteren Fragen wenden Sie sich an die Leitungen der Siegburger Kindertageseinrichtungen und Grundschulen</a:t>
            </a:r>
          </a:p>
        </p:txBody>
      </p:sp>
    </p:spTree>
    <p:extLst>
      <p:ext uri="{BB962C8B-B14F-4D97-AF65-F5344CB8AC3E}">
        <p14:creationId xmlns:p14="http://schemas.microsoft.com/office/powerpoint/2010/main" val="394312315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859DD9D0-0C7A-1A40-830B-B910D614CA2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7D9BFA3C-E594-6D4B-83B0-CF0E5513DA7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127B5C20-7D35-8147-9771-C494E2E7B65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CFE25C-A289-AD49-9DC0-FDAA5376C706}" type="datetimeFigureOut">
              <a:rPr lang="de-DE" smtClean="0"/>
              <a:t>21.07.2022</a:t>
            </a:fld>
            <a:endParaRPr lang="de-DE"/>
          </a:p>
        </p:txBody>
      </p:sp>
      <p:sp>
        <p:nvSpPr>
          <p:cNvPr id="5" name="Fußzeilenplatzhalter 4">
            <a:extLst>
              <a:ext uri="{FF2B5EF4-FFF2-40B4-BE49-F238E27FC236}">
                <a16:creationId xmlns:a16="http://schemas.microsoft.com/office/drawing/2014/main" id="{C78632D8-4CDC-4C47-9246-40C1F26857D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5CD601B3-B5B1-4A4E-A388-85805CF27E2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7E9A37E-8B53-3649-A3A8-A3E6C5A0B0BC}" type="slidenum">
              <a:rPr lang="de-DE" smtClean="0"/>
              <a:t>‹Nr.›</a:t>
            </a:fld>
            <a:endParaRPr lang="de-DE"/>
          </a:p>
        </p:txBody>
      </p:sp>
    </p:spTree>
    <p:extLst>
      <p:ext uri="{BB962C8B-B14F-4D97-AF65-F5344CB8AC3E}">
        <p14:creationId xmlns:p14="http://schemas.microsoft.com/office/powerpoint/2010/main" val="3815598197"/>
      </p:ext>
    </p:extLst>
  </p:cSld>
  <p:clrMap bg1="lt1" tx1="dk1" bg2="lt2" tx2="dk2" accent1="accent1" accent2="accent2" accent3="accent3" accent4="accent4" accent5="accent5" accent6="accent6" hlink="hlink" folHlink="folHlink"/>
  <p:sldLayoutIdLst>
    <p:sldLayoutId id="2147483649" r:id="rId1"/>
    <p:sldLayoutId id="2147483695" r:id="rId2"/>
    <p:sldLayoutId id="2147483660" r:id="rId3"/>
    <p:sldLayoutId id="2147483655"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15.jpeg"/><Relationship Id="rId1" Type="http://schemas.openxmlformats.org/officeDocument/2006/relationships/slideLayout" Target="../slideLayouts/slideLayout3.xml"/><Relationship Id="rId5" Type="http://schemas.openxmlformats.org/officeDocument/2006/relationships/image" Target="../media/image28.jpeg"/><Relationship Id="rId4" Type="http://schemas.openxmlformats.org/officeDocument/2006/relationships/image" Target="../media/image27.jpeg"/></Relationships>
</file>

<file path=ppt/slides/_rels/slide1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3.xml"/><Relationship Id="rId5" Type="http://schemas.openxmlformats.org/officeDocument/2006/relationships/image" Target="../media/image15.jpeg"/><Relationship Id="rId4" Type="http://schemas.openxmlformats.org/officeDocument/2006/relationships/image" Target="../media/image31.jpeg"/></Relationships>
</file>

<file path=ppt/slides/_rels/slide1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15.jpeg"/><Relationship Id="rId1" Type="http://schemas.openxmlformats.org/officeDocument/2006/relationships/slideLayout" Target="../slideLayouts/slideLayout3.xml"/><Relationship Id="rId4" Type="http://schemas.openxmlformats.org/officeDocument/2006/relationships/image" Target="../media/image33.jpeg"/></Relationships>
</file>

<file path=ppt/slides/_rels/slide1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3.xml"/><Relationship Id="rId5" Type="http://schemas.openxmlformats.org/officeDocument/2006/relationships/image" Target="../media/image15.jpeg"/><Relationship Id="rId4" Type="http://schemas.openxmlformats.org/officeDocument/2006/relationships/image" Target="../media/image36.jpeg"/></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15.jpeg"/><Relationship Id="rId1" Type="http://schemas.openxmlformats.org/officeDocument/2006/relationships/slideLayout" Target="../slideLayouts/slideLayout3.xml"/><Relationship Id="rId4" Type="http://schemas.openxmlformats.org/officeDocument/2006/relationships/image" Target="../media/image39.jpeg"/></Relationships>
</file>

<file path=ppt/slides/_rels/slide1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40.jpeg"/><Relationship Id="rId1" Type="http://schemas.openxmlformats.org/officeDocument/2006/relationships/slideLayout" Target="../slideLayouts/slideLayout3.xml"/><Relationship Id="rId4" Type="http://schemas.openxmlformats.org/officeDocument/2006/relationships/image" Target="../media/image41.jpeg"/></Relationships>
</file>

<file path=ppt/slides/_rels/slide1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15.jpeg"/><Relationship Id="rId1" Type="http://schemas.openxmlformats.org/officeDocument/2006/relationships/slideLayout" Target="../slideLayouts/slideLayout3.xml"/><Relationship Id="rId5" Type="http://schemas.openxmlformats.org/officeDocument/2006/relationships/image" Target="../media/image44.jpeg"/><Relationship Id="rId4" Type="http://schemas.openxmlformats.org/officeDocument/2006/relationships/image" Target="../media/image43.jpeg"/></Relationships>
</file>

<file path=ppt/slides/_rels/slide1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15.jpeg"/><Relationship Id="rId1" Type="http://schemas.openxmlformats.org/officeDocument/2006/relationships/slideLayout" Target="../slideLayouts/slideLayout3.xml"/><Relationship Id="rId5" Type="http://schemas.openxmlformats.org/officeDocument/2006/relationships/image" Target="../media/image47.jpeg"/><Relationship Id="rId4" Type="http://schemas.openxmlformats.org/officeDocument/2006/relationships/image" Target="../media/image46.jpeg"/></Relationships>
</file>

<file path=ppt/slides/_rels/slide1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15.jpeg"/><Relationship Id="rId1" Type="http://schemas.openxmlformats.org/officeDocument/2006/relationships/slideLayout" Target="../slideLayouts/slideLayout3.xml"/><Relationship Id="rId4" Type="http://schemas.openxmlformats.org/officeDocument/2006/relationships/image" Target="../media/image49.jpeg"/></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3.xml"/><Relationship Id="rId6" Type="http://schemas.openxmlformats.org/officeDocument/2006/relationships/image" Target="../media/image9.jpeg"/><Relationship Id="rId5" Type="http://schemas.microsoft.com/office/2007/relationships/hdphoto" Target="../media/hdphoto1.wdp"/><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15.jpeg"/><Relationship Id="rId1" Type="http://schemas.openxmlformats.org/officeDocument/2006/relationships/slideLayout" Target="../slideLayouts/slideLayout3.xml"/><Relationship Id="rId4" Type="http://schemas.openxmlformats.org/officeDocument/2006/relationships/image" Target="../media/image51.jpeg"/></Relationships>
</file>

<file path=ppt/slides/_rels/slide21.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15.jpeg"/><Relationship Id="rId1" Type="http://schemas.openxmlformats.org/officeDocument/2006/relationships/slideLayout" Target="../slideLayouts/slideLayout3.xml"/><Relationship Id="rId4" Type="http://schemas.openxmlformats.org/officeDocument/2006/relationships/image" Target="../media/image53.emf"/></Relationships>
</file>

<file path=ppt/slides/_rels/slide2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15.jpeg"/><Relationship Id="rId1" Type="http://schemas.openxmlformats.org/officeDocument/2006/relationships/slideLayout" Target="../slideLayouts/slideLayout3.xml"/><Relationship Id="rId5" Type="http://schemas.openxmlformats.org/officeDocument/2006/relationships/image" Target="../media/image56.jpeg"/><Relationship Id="rId4" Type="http://schemas.openxmlformats.org/officeDocument/2006/relationships/image" Target="../media/image55.jpeg"/></Relationships>
</file>

<file path=ppt/slides/_rels/slide23.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15.jpeg"/><Relationship Id="rId1" Type="http://schemas.openxmlformats.org/officeDocument/2006/relationships/slideLayout" Target="../slideLayouts/slideLayout3.xml"/><Relationship Id="rId5" Type="http://schemas.openxmlformats.org/officeDocument/2006/relationships/image" Target="../media/image59.jpeg"/><Relationship Id="rId4" Type="http://schemas.openxmlformats.org/officeDocument/2006/relationships/image" Target="../media/image58.jpeg"/></Relationships>
</file>

<file path=ppt/slides/_rels/slide24.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15.jpeg"/><Relationship Id="rId1" Type="http://schemas.openxmlformats.org/officeDocument/2006/relationships/slideLayout" Target="../slideLayouts/slideLayout3.xml"/><Relationship Id="rId4" Type="http://schemas.openxmlformats.org/officeDocument/2006/relationships/image" Target="../media/image61.jpeg"/></Relationships>
</file>

<file path=ppt/slides/_rels/slide25.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15.jpeg"/><Relationship Id="rId1" Type="http://schemas.openxmlformats.org/officeDocument/2006/relationships/slideLayout" Target="../slideLayouts/slideLayout3.xml"/><Relationship Id="rId5" Type="http://schemas.openxmlformats.org/officeDocument/2006/relationships/image" Target="../media/image64.jpeg"/><Relationship Id="rId4" Type="http://schemas.openxmlformats.org/officeDocument/2006/relationships/image" Target="../media/image63.jpeg"/></Relationships>
</file>

<file path=ppt/slides/_rels/slide26.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Layout" Target="../slideLayouts/slideLayout3.xml"/><Relationship Id="rId5" Type="http://schemas.openxmlformats.org/officeDocument/2006/relationships/image" Target="../media/image67.jpeg"/><Relationship Id="rId4" Type="http://schemas.openxmlformats.org/officeDocument/2006/relationships/image" Target="../media/image15.jpeg"/></Relationships>
</file>

<file path=ppt/slides/_rels/slide27.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1.jpeg"/><Relationship Id="rId1" Type="http://schemas.openxmlformats.org/officeDocument/2006/relationships/slideLayout" Target="../slideLayouts/slideLayout3.xml"/><Relationship Id="rId6" Type="http://schemas.openxmlformats.org/officeDocument/2006/relationships/image" Target="../media/image71.jpeg"/><Relationship Id="rId5" Type="http://schemas.openxmlformats.org/officeDocument/2006/relationships/image" Target="../media/image70.svg"/><Relationship Id="rId4" Type="http://schemas.openxmlformats.org/officeDocument/2006/relationships/image" Target="../media/image69.png"/></Relationships>
</file>

<file path=ppt/slides/_rels/slide2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72.jpeg"/><Relationship Id="rId1" Type="http://schemas.openxmlformats.org/officeDocument/2006/relationships/slideLayout" Target="../slideLayouts/slideLayout3.xml"/><Relationship Id="rId6" Type="http://schemas.openxmlformats.org/officeDocument/2006/relationships/image" Target="../media/image73.jpeg"/><Relationship Id="rId5" Type="http://schemas.openxmlformats.org/officeDocument/2006/relationships/image" Target="../media/image70.svg"/><Relationship Id="rId4" Type="http://schemas.openxmlformats.org/officeDocument/2006/relationships/image" Target="../media/image69.png"/></Relationships>
</file>

<file path=ppt/slides/_rels/slide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11.jpeg"/><Relationship Id="rId1" Type="http://schemas.openxmlformats.org/officeDocument/2006/relationships/slideLayout" Target="../slideLayouts/slideLayout3.xml"/><Relationship Id="rId4" Type="http://schemas.openxmlformats.org/officeDocument/2006/relationships/image" Target="../media/image75.png"/></Relationships>
</file>

<file path=ppt/slides/_rels/slide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Layout" Target="../slideLayouts/slideLayout3.xml"/><Relationship Id="rId1" Type="http://schemas.openxmlformats.org/officeDocument/2006/relationships/tags" Target="../tags/tag2.xml"/><Relationship Id="rId5" Type="http://schemas.openxmlformats.org/officeDocument/2006/relationships/image" Target="../media/image14.sv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3.xml"/><Relationship Id="rId5" Type="http://schemas.openxmlformats.org/officeDocument/2006/relationships/image" Target="../media/image18.emf"/><Relationship Id="rId4" Type="http://schemas.openxmlformats.org/officeDocument/2006/relationships/image" Target="../media/image17.jpeg"/></Relationships>
</file>

<file path=ppt/slides/_rels/slide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5.jpeg"/><Relationship Id="rId1" Type="http://schemas.openxmlformats.org/officeDocument/2006/relationships/slideLayout" Target="../slideLayouts/slideLayout3.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15.jpeg"/><Relationship Id="rId1" Type="http://schemas.openxmlformats.org/officeDocument/2006/relationships/slideLayout" Target="../slideLayouts/slideLayout3.xml"/><Relationship Id="rId5" Type="http://schemas.openxmlformats.org/officeDocument/2006/relationships/image" Target="../media/image25.jpeg"/><Relationship Id="rId4" Type="http://schemas.openxmlformats.org/officeDocument/2006/relationships/image" Target="../media/image2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53977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descr="Ein Bild, das Text, Tisch, drinnen, Schreibgerät enthält.&#10;&#10;Automatisch generierte Beschreibung">
            <a:extLst>
              <a:ext uri="{FF2B5EF4-FFF2-40B4-BE49-F238E27FC236}">
                <a16:creationId xmlns:a16="http://schemas.microsoft.com/office/drawing/2014/main" id="{09AED58D-3272-F749-83A9-91AA2AE7804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95"/>
          <a:stretch/>
        </p:blipFill>
        <p:spPr>
          <a:xfrm>
            <a:off x="-23925" y="566696"/>
            <a:ext cx="12239849" cy="1430278"/>
          </a:xfrm>
          <a:prstGeom prst="rect">
            <a:avLst/>
          </a:prstGeom>
        </p:spPr>
      </p:pic>
      <p:sp>
        <p:nvSpPr>
          <p:cNvPr id="5" name="Rectangle 21">
            <a:extLst>
              <a:ext uri="{FF2B5EF4-FFF2-40B4-BE49-F238E27FC236}">
                <a16:creationId xmlns:a16="http://schemas.microsoft.com/office/drawing/2014/main" id="{95CE66D6-3CEF-7B4E-910B-BDC92F9B8101}"/>
              </a:ext>
            </a:extLst>
          </p:cNvPr>
          <p:cNvSpPr/>
          <p:nvPr/>
        </p:nvSpPr>
        <p:spPr bwMode="auto">
          <a:xfrm>
            <a:off x="-23925" y="555284"/>
            <a:ext cx="12239849" cy="1452196"/>
          </a:xfrm>
          <a:prstGeom prst="rect">
            <a:avLst/>
          </a:prstGeom>
          <a:solidFill>
            <a:schemeClr val="tx2">
              <a:lumMod val="75000"/>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7" name="TextBox 6">
            <a:extLst>
              <a:ext uri="{FF2B5EF4-FFF2-40B4-BE49-F238E27FC236}">
                <a16:creationId xmlns:a16="http://schemas.microsoft.com/office/drawing/2014/main" id="{CF6AB2DF-74BF-8748-87D8-FCFDA75C68B5}"/>
              </a:ext>
            </a:extLst>
          </p:cNvPr>
          <p:cNvSpPr txBox="1"/>
          <p:nvPr/>
        </p:nvSpPr>
        <p:spPr>
          <a:xfrm>
            <a:off x="1077166" y="948262"/>
            <a:ext cx="3422412" cy="369332"/>
          </a:xfrm>
          <a:prstGeom prst="rect">
            <a:avLst/>
          </a:prstGeom>
          <a:noFill/>
        </p:spPr>
        <p:txBody>
          <a:bodyPr wrap="none" lIns="0" tIns="0" rIns="0" bIns="0" rtlCol="0">
            <a:spAutoFit/>
          </a:bodyPr>
          <a:lstStyle/>
          <a:p>
            <a:pPr marL="0" marR="0" lvl="0" indent="0" algn="l" defTabSz="914079"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300" normalizeH="0" baseline="0" noProof="0" dirty="0">
                <a:ln>
                  <a:noFill/>
                </a:ln>
                <a:solidFill>
                  <a:srgbClr val="FFFFFF"/>
                </a:solidFill>
                <a:effectLst/>
                <a:uLnTx/>
                <a:uFillTx/>
                <a:latin typeface="Tahoma"/>
                <a:ea typeface="+mn-ea"/>
                <a:cs typeface="+mn-cs"/>
              </a:rPr>
              <a:t>Bildungsbereich 2</a:t>
            </a:r>
          </a:p>
        </p:txBody>
      </p:sp>
      <p:sp>
        <p:nvSpPr>
          <p:cNvPr id="16" name="TextBox 7">
            <a:extLst>
              <a:ext uri="{FF2B5EF4-FFF2-40B4-BE49-F238E27FC236}">
                <a16:creationId xmlns:a16="http://schemas.microsoft.com/office/drawing/2014/main" id="{21E41DE7-6C40-2048-9CAA-377D11F356EA}"/>
              </a:ext>
            </a:extLst>
          </p:cNvPr>
          <p:cNvSpPr txBox="1"/>
          <p:nvPr/>
        </p:nvSpPr>
        <p:spPr>
          <a:xfrm>
            <a:off x="1077166" y="1494956"/>
            <a:ext cx="5028621" cy="246221"/>
          </a:xfrm>
          <a:prstGeom prst="rect">
            <a:avLst/>
          </a:prstGeom>
          <a:noFill/>
        </p:spPr>
        <p:txBody>
          <a:bodyPr wrap="none" lIns="0" tIns="0" rIns="0" bIns="0" rtlCol="0">
            <a:spAutoFit/>
          </a:bodyPr>
          <a:lstStyle/>
          <a:p>
            <a:pPr lvl="0" defTabSz="914079">
              <a:defRPr/>
            </a:pPr>
            <a:r>
              <a:rPr lang="de-DE" sz="1600" spc="300" dirty="0">
                <a:solidFill>
                  <a:srgbClr val="FFFFFF"/>
                </a:solidFill>
                <a:latin typeface="Tahoma"/>
              </a:rPr>
              <a:t>Körper, Gesundheit, Ernährung- </a:t>
            </a:r>
            <a:r>
              <a:rPr lang="de-DE" sz="1600" b="1" spc="300" dirty="0">
                <a:solidFill>
                  <a:srgbClr val="FFFFFF"/>
                </a:solidFill>
                <a:latin typeface="Tahoma"/>
              </a:rPr>
              <a:t>Schule</a:t>
            </a:r>
            <a:endParaRPr kumimoji="0" lang="de-DE" sz="1600" b="1" i="0" u="none" strike="noStrike" kern="1200" cap="none" spc="300" normalizeH="0" baseline="0" noProof="0" dirty="0">
              <a:ln>
                <a:noFill/>
              </a:ln>
              <a:solidFill>
                <a:srgbClr val="FFFFFF"/>
              </a:solidFill>
              <a:effectLst/>
              <a:uLnTx/>
              <a:uFillTx/>
              <a:latin typeface="Tahoma"/>
              <a:ea typeface="+mn-ea"/>
              <a:cs typeface="+mn-cs"/>
            </a:endParaRPr>
          </a:p>
        </p:txBody>
      </p:sp>
      <p:cxnSp>
        <p:nvCxnSpPr>
          <p:cNvPr id="9" name="Straight Connector 8">
            <a:extLst>
              <a:ext uri="{FF2B5EF4-FFF2-40B4-BE49-F238E27FC236}">
                <a16:creationId xmlns:a16="http://schemas.microsoft.com/office/drawing/2014/main" id="{1AAB9A71-ADAA-0949-B752-37BC01FB2424}"/>
              </a:ext>
            </a:extLst>
          </p:cNvPr>
          <p:cNvCxnSpPr>
            <a:cxnSpLocks/>
          </p:cNvCxnSpPr>
          <p:nvPr/>
        </p:nvCxnSpPr>
        <p:spPr>
          <a:xfrm>
            <a:off x="1077166" y="1365360"/>
            <a:ext cx="94598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hteck 5">
            <a:extLst>
              <a:ext uri="{FF2B5EF4-FFF2-40B4-BE49-F238E27FC236}">
                <a16:creationId xmlns:a16="http://schemas.microsoft.com/office/drawing/2014/main" id="{D01BAF68-EF33-D24E-88A4-AA926B70E918}"/>
              </a:ext>
            </a:extLst>
          </p:cNvPr>
          <p:cNvSpPr/>
          <p:nvPr/>
        </p:nvSpPr>
        <p:spPr bwMode="auto">
          <a:xfrm>
            <a:off x="550062" y="3131288"/>
            <a:ext cx="4028038" cy="1999925"/>
          </a:xfrm>
          <a:prstGeom prst="rect">
            <a:avLst/>
          </a:prstGeom>
          <a:solidFill>
            <a:schemeClr val="bg1"/>
          </a:solid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104372" tIns="52502" rIns="102634" bIns="52502" numCol="1" rtlCol="0" anchor="ctr" anchorCtr="0" compatLnSpc="1">
            <a:prstTxWarp prst="textNoShape">
              <a:avLst/>
            </a:prstTxWarp>
          </a:bodyPr>
          <a:lstStyle/>
          <a:p>
            <a:pPr marL="0" marR="0" lvl="0" indent="0" algn="ctr" defTabSz="995065" rtl="0" eaLnBrk="1" fontAlgn="base" latinLnBrk="0" hangingPunct="1">
              <a:lnSpc>
                <a:spcPct val="100000"/>
              </a:lnSpc>
              <a:spcBef>
                <a:spcPct val="0"/>
              </a:spcBef>
              <a:spcAft>
                <a:spcPct val="0"/>
              </a:spcAft>
              <a:buClr>
                <a:srgbClr val="FF8000"/>
              </a:buClr>
              <a:buSzPct val="75000"/>
              <a:buFontTx/>
              <a:buNone/>
              <a:tabLst/>
              <a:defRPr/>
            </a:pPr>
            <a:endParaRPr kumimoji="0" lang="de-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17" name="Text Placeholder 2">
            <a:extLst>
              <a:ext uri="{FF2B5EF4-FFF2-40B4-BE49-F238E27FC236}">
                <a16:creationId xmlns:a16="http://schemas.microsoft.com/office/drawing/2014/main" id="{7F0FC37E-9FC0-7A4E-BD5C-89CFF83627C2}"/>
              </a:ext>
            </a:extLst>
          </p:cNvPr>
          <p:cNvSpPr txBox="1">
            <a:spLocks/>
          </p:cNvSpPr>
          <p:nvPr/>
        </p:nvSpPr>
        <p:spPr>
          <a:xfrm>
            <a:off x="864390" y="3412655"/>
            <a:ext cx="3512862" cy="2154436"/>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Klassenfahrten</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Radfahr-prüfung</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Ernährungsführerschein</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Tut-mir-gut Schule</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bewegungsförderndes Außengelände</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Sportfest und Sponsorenlauf</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Sexualerziehung/ Medienerziehung</a:t>
            </a:r>
          </a:p>
          <a:p>
            <a:pPr marL="285750" indent="-285750">
              <a:lnSpc>
                <a:spcPct val="100000"/>
              </a:lnSpc>
              <a:spcBef>
                <a:spcPts val="0"/>
              </a:spcBef>
              <a:buFont typeface="Arial" panose="020B0604020202020204" pitchFamily="34" charset="0"/>
              <a:buChar char="•"/>
              <a:defRPr/>
            </a:pPr>
            <a:endParaRPr lang="de-DE" sz="1400" dirty="0">
              <a:solidFill>
                <a:schemeClr val="tx1">
                  <a:lumMod val="65000"/>
                  <a:lumOff val="35000"/>
                </a:schemeClr>
              </a:solidFill>
              <a:latin typeface="Tahoma"/>
            </a:endParaRPr>
          </a:p>
          <a:p>
            <a:pPr>
              <a:lnSpc>
                <a:spcPct val="100000"/>
              </a:lnSpc>
              <a:spcBef>
                <a:spcPts val="0"/>
              </a:spcBef>
              <a:defRPr/>
            </a:pPr>
            <a:endParaRPr lang="de-DE" sz="1400" dirty="0">
              <a:solidFill>
                <a:schemeClr val="tx1">
                  <a:lumMod val="65000"/>
                  <a:lumOff val="35000"/>
                </a:schemeClr>
              </a:solidFill>
              <a:latin typeface="Tahoma"/>
            </a:endParaRPr>
          </a:p>
          <a:p>
            <a:pPr marL="285750" indent="-285750">
              <a:lnSpc>
                <a:spcPct val="100000"/>
              </a:lnSpc>
              <a:spcBef>
                <a:spcPts val="0"/>
              </a:spcBef>
              <a:buFont typeface="Arial" panose="020B0604020202020204" pitchFamily="34" charset="0"/>
              <a:buChar char="•"/>
              <a:defRPr/>
            </a:pPr>
            <a:endParaRPr lang="de-DE" sz="1400" dirty="0">
              <a:solidFill>
                <a:schemeClr val="tx1">
                  <a:lumMod val="65000"/>
                  <a:lumOff val="35000"/>
                </a:schemeClr>
              </a:solidFill>
              <a:latin typeface="Tahoma"/>
            </a:endParaRPr>
          </a:p>
        </p:txBody>
      </p:sp>
      <p:sp>
        <p:nvSpPr>
          <p:cNvPr id="18" name="TextBox 187">
            <a:extLst>
              <a:ext uri="{FF2B5EF4-FFF2-40B4-BE49-F238E27FC236}">
                <a16:creationId xmlns:a16="http://schemas.microsoft.com/office/drawing/2014/main" id="{EC919384-48B1-1C40-A98E-2D56503938D9}"/>
              </a:ext>
            </a:extLst>
          </p:cNvPr>
          <p:cNvSpPr txBox="1"/>
          <p:nvPr/>
        </p:nvSpPr>
        <p:spPr>
          <a:xfrm>
            <a:off x="874900" y="3040840"/>
            <a:ext cx="1253348" cy="215444"/>
          </a:xfrm>
          <a:prstGeom prst="rect">
            <a:avLst/>
          </a:prstGeom>
          <a:solidFill>
            <a:schemeClr val="bg1"/>
          </a:solidFill>
        </p:spPr>
        <p:txBody>
          <a:bodyPr wrap="square" lIns="0" tIns="0" rIns="0" bIns="0" rtlCol="0">
            <a:spAutoFit/>
          </a:bodyPr>
          <a:lstStyle/>
          <a:p>
            <a:pPr algn="ctr" defTabSz="914079">
              <a:defRPr/>
            </a:pPr>
            <a:r>
              <a:rPr lang="de-DE" sz="1400" b="1" dirty="0">
                <a:solidFill>
                  <a:srgbClr val="404040"/>
                </a:solidFill>
                <a:latin typeface="Tahoma"/>
              </a:rPr>
              <a:t>Beispiele:</a:t>
            </a:r>
          </a:p>
        </p:txBody>
      </p:sp>
      <p:sp>
        <p:nvSpPr>
          <p:cNvPr id="19" name="Oval 8">
            <a:extLst>
              <a:ext uri="{FF2B5EF4-FFF2-40B4-BE49-F238E27FC236}">
                <a16:creationId xmlns:a16="http://schemas.microsoft.com/office/drawing/2014/main" id="{6A905EAD-662A-D644-A62C-FBCDCDFFAD80}"/>
              </a:ext>
            </a:extLst>
          </p:cNvPr>
          <p:cNvSpPr/>
          <p:nvPr/>
        </p:nvSpPr>
        <p:spPr>
          <a:xfrm>
            <a:off x="336005" y="2974917"/>
            <a:ext cx="376966" cy="376966"/>
          </a:xfrm>
          <a:prstGeom prst="ellipse">
            <a:avLst/>
          </a:prstGeom>
          <a:solidFill>
            <a:srgbClr val="404040"/>
          </a:solidFill>
          <a:ln w="38100">
            <a:no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79" rtl="0" eaLnBrk="1" fontAlgn="auto" latinLnBrk="0" hangingPunct="1">
              <a:lnSpc>
                <a:spcPct val="100000"/>
              </a:lnSpc>
              <a:spcBef>
                <a:spcPts val="0"/>
              </a:spcBef>
              <a:spcAft>
                <a:spcPts val="0"/>
              </a:spcAft>
              <a:buClrTx/>
              <a:buSzTx/>
              <a:buFontTx/>
              <a:buNone/>
              <a:tabLst/>
              <a:defRPr/>
            </a:pPr>
            <a:r>
              <a:rPr lang="de-DE" sz="1600" b="1" dirty="0">
                <a:solidFill>
                  <a:srgbClr val="FFFFFF"/>
                </a:solidFill>
                <a:latin typeface="Tahoma"/>
              </a:rPr>
              <a:t>2</a:t>
            </a:r>
            <a:endParaRPr kumimoji="0" lang="de-DE" sz="1600" b="1" i="0" u="none" strike="noStrike" kern="1200" cap="none" spc="0" normalizeH="0" baseline="0" noProof="0" dirty="0">
              <a:ln>
                <a:noFill/>
              </a:ln>
              <a:solidFill>
                <a:srgbClr val="FFFFFF"/>
              </a:solidFill>
              <a:effectLst/>
              <a:uLnTx/>
              <a:uFillTx/>
              <a:latin typeface="Tahoma"/>
              <a:ea typeface="+mn-ea"/>
              <a:cs typeface="+mn-cs"/>
            </a:endParaRPr>
          </a:p>
        </p:txBody>
      </p:sp>
      <p:pic>
        <p:nvPicPr>
          <p:cNvPr id="21" name="Inhaltsplatzhalter 3">
            <a:extLst>
              <a:ext uri="{FF2B5EF4-FFF2-40B4-BE49-F238E27FC236}">
                <a16:creationId xmlns:a16="http://schemas.microsoft.com/office/drawing/2014/main" id="{BDCAD94A-434E-E84B-BF23-5CA456032E2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a:xfrm>
            <a:off x="8834822" y="4301889"/>
            <a:ext cx="2665713" cy="1999925"/>
          </a:xfrm>
          <a:prstGeom prst="rect">
            <a:avLst/>
          </a:prstGeom>
        </p:spPr>
      </p:pic>
      <p:pic>
        <p:nvPicPr>
          <p:cNvPr id="22" name="Picture 2" descr="C:\Users\nolte\Documents\Schule\Kita\Neuer Ordner\P1050429.JPG">
            <a:extLst>
              <a:ext uri="{FF2B5EF4-FFF2-40B4-BE49-F238E27FC236}">
                <a16:creationId xmlns:a16="http://schemas.microsoft.com/office/drawing/2014/main" id="{0FDEF21F-DB58-894F-9D3C-8E4462AB08A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834822" y="2152927"/>
            <a:ext cx="2666139" cy="199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 descr="C:\Users\nolte\Documents\Schule\Kita\Neuer Ordner\P1050840.JPG">
            <a:extLst>
              <a:ext uri="{FF2B5EF4-FFF2-40B4-BE49-F238E27FC236}">
                <a16:creationId xmlns:a16="http://schemas.microsoft.com/office/drawing/2014/main" id="{58E26F81-38E0-C847-BFFB-F022A986C2C9}"/>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508111" y="2543352"/>
            <a:ext cx="2417724" cy="321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817814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5" descr="DSC05317">
            <a:extLst>
              <a:ext uri="{FF2B5EF4-FFF2-40B4-BE49-F238E27FC236}">
                <a16:creationId xmlns:a16="http://schemas.microsoft.com/office/drawing/2014/main" id="{8AB00D76-B5C0-7B49-A823-4282339EF4CF}"/>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a:xfrm>
            <a:off x="5686546" y="3081510"/>
            <a:ext cx="2823356" cy="2118259"/>
          </a:xfrm>
          <a:prstGeom prst="rect">
            <a:avLst/>
          </a:prstGeom>
        </p:spPr>
      </p:pic>
      <p:pic>
        <p:nvPicPr>
          <p:cNvPr id="19" name="Picture 5" descr="BILD0166">
            <a:extLst>
              <a:ext uri="{FF2B5EF4-FFF2-40B4-BE49-F238E27FC236}">
                <a16:creationId xmlns:a16="http://schemas.microsoft.com/office/drawing/2014/main" id="{09FD1945-91FD-1948-9E58-C30FBCABCCC5}"/>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a:xfrm>
            <a:off x="8844503" y="2151221"/>
            <a:ext cx="2666929" cy="1999925"/>
          </a:xfrm>
          <a:prstGeom prst="rect">
            <a:avLst/>
          </a:prstGeom>
        </p:spPr>
      </p:pic>
      <p:pic>
        <p:nvPicPr>
          <p:cNvPr id="21" name="Picture 5" descr="Medien1">
            <a:extLst>
              <a:ext uri="{FF2B5EF4-FFF2-40B4-BE49-F238E27FC236}">
                <a16:creationId xmlns:a16="http://schemas.microsoft.com/office/drawing/2014/main" id="{5E63514C-5007-2148-A89E-B33BD971D94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845664" y="4282573"/>
            <a:ext cx="2665768" cy="199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Grafik 24" descr="Ein Bild, das Text, Tisch, drinnen, Schreibgerät enthält.&#10;&#10;Automatisch generierte Beschreibung">
            <a:extLst>
              <a:ext uri="{FF2B5EF4-FFF2-40B4-BE49-F238E27FC236}">
                <a16:creationId xmlns:a16="http://schemas.microsoft.com/office/drawing/2014/main" id="{09AED58D-3272-F749-83A9-91AA2AE7804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r="-195"/>
          <a:stretch/>
        </p:blipFill>
        <p:spPr>
          <a:xfrm>
            <a:off x="-23925" y="566696"/>
            <a:ext cx="12239849" cy="1430278"/>
          </a:xfrm>
          <a:prstGeom prst="rect">
            <a:avLst/>
          </a:prstGeom>
        </p:spPr>
      </p:pic>
      <p:sp>
        <p:nvSpPr>
          <p:cNvPr id="5" name="Rectangle 21">
            <a:extLst>
              <a:ext uri="{FF2B5EF4-FFF2-40B4-BE49-F238E27FC236}">
                <a16:creationId xmlns:a16="http://schemas.microsoft.com/office/drawing/2014/main" id="{95CE66D6-3CEF-7B4E-910B-BDC92F9B8101}"/>
              </a:ext>
            </a:extLst>
          </p:cNvPr>
          <p:cNvSpPr/>
          <p:nvPr/>
        </p:nvSpPr>
        <p:spPr bwMode="auto">
          <a:xfrm>
            <a:off x="-23925" y="555284"/>
            <a:ext cx="12239849" cy="1452196"/>
          </a:xfrm>
          <a:prstGeom prst="rect">
            <a:avLst/>
          </a:prstGeom>
          <a:solidFill>
            <a:schemeClr val="accent1">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7" name="TextBox 6">
            <a:extLst>
              <a:ext uri="{FF2B5EF4-FFF2-40B4-BE49-F238E27FC236}">
                <a16:creationId xmlns:a16="http://schemas.microsoft.com/office/drawing/2014/main" id="{CF6AB2DF-74BF-8748-87D8-FCFDA75C68B5}"/>
              </a:ext>
            </a:extLst>
          </p:cNvPr>
          <p:cNvSpPr txBox="1"/>
          <p:nvPr/>
        </p:nvSpPr>
        <p:spPr>
          <a:xfrm>
            <a:off x="1077166" y="948262"/>
            <a:ext cx="3422412" cy="369332"/>
          </a:xfrm>
          <a:prstGeom prst="rect">
            <a:avLst/>
          </a:prstGeom>
          <a:noFill/>
        </p:spPr>
        <p:txBody>
          <a:bodyPr wrap="none" lIns="0" tIns="0" rIns="0" bIns="0" rtlCol="0">
            <a:spAutoFit/>
          </a:bodyPr>
          <a:lstStyle/>
          <a:p>
            <a:pPr marL="0" marR="0" lvl="0" indent="0" algn="l" defTabSz="914079"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300" normalizeH="0" baseline="0" noProof="0" dirty="0">
                <a:ln>
                  <a:noFill/>
                </a:ln>
                <a:solidFill>
                  <a:srgbClr val="FFFFFF"/>
                </a:solidFill>
                <a:effectLst/>
                <a:uLnTx/>
                <a:uFillTx/>
                <a:latin typeface="Tahoma"/>
                <a:ea typeface="+mn-ea"/>
                <a:cs typeface="+mn-cs"/>
              </a:rPr>
              <a:t>Bildungsbereich 3</a:t>
            </a:r>
          </a:p>
        </p:txBody>
      </p:sp>
      <p:sp>
        <p:nvSpPr>
          <p:cNvPr id="16" name="TextBox 7">
            <a:extLst>
              <a:ext uri="{FF2B5EF4-FFF2-40B4-BE49-F238E27FC236}">
                <a16:creationId xmlns:a16="http://schemas.microsoft.com/office/drawing/2014/main" id="{21E41DE7-6C40-2048-9CAA-377D11F356EA}"/>
              </a:ext>
            </a:extLst>
          </p:cNvPr>
          <p:cNvSpPr txBox="1"/>
          <p:nvPr/>
        </p:nvSpPr>
        <p:spPr>
          <a:xfrm>
            <a:off x="1077166" y="1494956"/>
            <a:ext cx="4437497" cy="246221"/>
          </a:xfrm>
          <a:prstGeom prst="rect">
            <a:avLst/>
          </a:prstGeom>
          <a:noFill/>
        </p:spPr>
        <p:txBody>
          <a:bodyPr wrap="none" lIns="0" tIns="0" rIns="0" bIns="0" rtlCol="0">
            <a:spAutoFit/>
          </a:bodyPr>
          <a:lstStyle/>
          <a:p>
            <a:pPr lvl="0" defTabSz="914079">
              <a:defRPr/>
            </a:pPr>
            <a:r>
              <a:rPr lang="de-DE" sz="1600" spc="300" dirty="0">
                <a:solidFill>
                  <a:srgbClr val="FFFFFF"/>
                </a:solidFill>
                <a:latin typeface="Tahoma"/>
              </a:rPr>
              <a:t>Sprache und Kommunikation - </a:t>
            </a:r>
            <a:r>
              <a:rPr lang="de-DE" sz="1600" b="1" spc="300" dirty="0">
                <a:solidFill>
                  <a:srgbClr val="FFFFFF"/>
                </a:solidFill>
                <a:latin typeface="Tahoma"/>
              </a:rPr>
              <a:t>Kita</a:t>
            </a:r>
            <a:endParaRPr kumimoji="0" lang="de-DE" sz="1600" b="1" i="0" u="none" strike="noStrike" kern="1200" cap="none" spc="300" normalizeH="0" baseline="0" noProof="0" dirty="0">
              <a:ln>
                <a:noFill/>
              </a:ln>
              <a:solidFill>
                <a:srgbClr val="FFFFFF"/>
              </a:solidFill>
              <a:effectLst/>
              <a:uLnTx/>
              <a:uFillTx/>
              <a:latin typeface="Tahoma"/>
              <a:ea typeface="+mn-ea"/>
              <a:cs typeface="+mn-cs"/>
            </a:endParaRPr>
          </a:p>
        </p:txBody>
      </p:sp>
      <p:cxnSp>
        <p:nvCxnSpPr>
          <p:cNvPr id="9" name="Straight Connector 8">
            <a:extLst>
              <a:ext uri="{FF2B5EF4-FFF2-40B4-BE49-F238E27FC236}">
                <a16:creationId xmlns:a16="http://schemas.microsoft.com/office/drawing/2014/main" id="{1AAB9A71-ADAA-0949-B752-37BC01FB2424}"/>
              </a:ext>
            </a:extLst>
          </p:cNvPr>
          <p:cNvCxnSpPr>
            <a:cxnSpLocks/>
          </p:cNvCxnSpPr>
          <p:nvPr/>
        </p:nvCxnSpPr>
        <p:spPr>
          <a:xfrm>
            <a:off x="1077166" y="1365360"/>
            <a:ext cx="94598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uppieren 1">
            <a:extLst>
              <a:ext uri="{FF2B5EF4-FFF2-40B4-BE49-F238E27FC236}">
                <a16:creationId xmlns:a16="http://schemas.microsoft.com/office/drawing/2014/main" id="{CE9D7918-8F35-4A4D-ADB0-7A7171B03ABB}"/>
              </a:ext>
            </a:extLst>
          </p:cNvPr>
          <p:cNvGrpSpPr/>
          <p:nvPr/>
        </p:nvGrpSpPr>
        <p:grpSpPr>
          <a:xfrm>
            <a:off x="509731" y="3429000"/>
            <a:ext cx="4242095" cy="1189682"/>
            <a:chOff x="257483" y="3272628"/>
            <a:chExt cx="4242095" cy="1189682"/>
          </a:xfrm>
        </p:grpSpPr>
        <p:sp>
          <p:nvSpPr>
            <p:cNvPr id="23" name="Rechteck 5">
              <a:extLst>
                <a:ext uri="{FF2B5EF4-FFF2-40B4-BE49-F238E27FC236}">
                  <a16:creationId xmlns:a16="http://schemas.microsoft.com/office/drawing/2014/main" id="{59C57048-D4B7-6A49-B521-A8D59D8CC5E0}"/>
                </a:ext>
              </a:extLst>
            </p:cNvPr>
            <p:cNvSpPr/>
            <p:nvPr/>
          </p:nvSpPr>
          <p:spPr bwMode="auto">
            <a:xfrm>
              <a:off x="471540" y="3429000"/>
              <a:ext cx="4028038" cy="1019858"/>
            </a:xfrm>
            <a:prstGeom prst="rect">
              <a:avLst/>
            </a:prstGeom>
            <a:solidFill>
              <a:schemeClr val="bg1"/>
            </a:solid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104372" tIns="52502" rIns="102634" bIns="52502" numCol="1" rtlCol="0" anchor="ctr" anchorCtr="0" compatLnSpc="1">
              <a:prstTxWarp prst="textNoShape">
                <a:avLst/>
              </a:prstTxWarp>
            </a:bodyPr>
            <a:lstStyle/>
            <a:p>
              <a:pPr marL="0" marR="0" lvl="0" indent="0" algn="ctr" defTabSz="995065" rtl="0" eaLnBrk="1" fontAlgn="base" latinLnBrk="0" hangingPunct="1">
                <a:lnSpc>
                  <a:spcPct val="100000"/>
                </a:lnSpc>
                <a:spcBef>
                  <a:spcPct val="0"/>
                </a:spcBef>
                <a:spcAft>
                  <a:spcPct val="0"/>
                </a:spcAft>
                <a:buClr>
                  <a:srgbClr val="FF8000"/>
                </a:buClr>
                <a:buSzPct val="75000"/>
                <a:buFontTx/>
                <a:buNone/>
                <a:tabLst/>
                <a:defRPr/>
              </a:pPr>
              <a:endParaRPr kumimoji="0" lang="de-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24" name="Text Placeholder 2">
              <a:extLst>
                <a:ext uri="{FF2B5EF4-FFF2-40B4-BE49-F238E27FC236}">
                  <a16:creationId xmlns:a16="http://schemas.microsoft.com/office/drawing/2014/main" id="{74199EFC-6547-9341-A0FF-592D30BA1331}"/>
                </a:ext>
              </a:extLst>
            </p:cNvPr>
            <p:cNvSpPr txBox="1">
              <a:spLocks/>
            </p:cNvSpPr>
            <p:nvPr/>
          </p:nvSpPr>
          <p:spPr>
            <a:xfrm>
              <a:off x="796378" y="3815979"/>
              <a:ext cx="3512862" cy="646331"/>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Alltagsintegrierte Sprachförderung</a:t>
              </a:r>
            </a:p>
            <a:p>
              <a:pPr>
                <a:lnSpc>
                  <a:spcPct val="100000"/>
                </a:lnSpc>
                <a:spcBef>
                  <a:spcPts val="0"/>
                </a:spcBef>
                <a:defRPr/>
              </a:pPr>
              <a:endParaRPr lang="de-DE" sz="1400" dirty="0">
                <a:solidFill>
                  <a:schemeClr val="tx1">
                    <a:lumMod val="65000"/>
                    <a:lumOff val="35000"/>
                  </a:schemeClr>
                </a:solidFill>
                <a:latin typeface="Tahoma"/>
              </a:endParaRPr>
            </a:p>
            <a:p>
              <a:pPr marL="285750" indent="-285750">
                <a:lnSpc>
                  <a:spcPct val="100000"/>
                </a:lnSpc>
                <a:spcBef>
                  <a:spcPts val="0"/>
                </a:spcBef>
                <a:buFont typeface="Arial" panose="020B0604020202020204" pitchFamily="34" charset="0"/>
                <a:buChar char="•"/>
                <a:defRPr/>
              </a:pPr>
              <a:endParaRPr lang="de-DE" sz="1400" dirty="0">
                <a:solidFill>
                  <a:schemeClr val="tx1">
                    <a:lumMod val="65000"/>
                    <a:lumOff val="35000"/>
                  </a:schemeClr>
                </a:solidFill>
                <a:latin typeface="Tahoma"/>
              </a:endParaRPr>
            </a:p>
          </p:txBody>
        </p:sp>
        <p:sp>
          <p:nvSpPr>
            <p:cNvPr id="29" name="TextBox 187">
              <a:extLst>
                <a:ext uri="{FF2B5EF4-FFF2-40B4-BE49-F238E27FC236}">
                  <a16:creationId xmlns:a16="http://schemas.microsoft.com/office/drawing/2014/main" id="{CDBEC6D2-A989-F34C-8200-7F7BFE507F0A}"/>
                </a:ext>
              </a:extLst>
            </p:cNvPr>
            <p:cNvSpPr txBox="1"/>
            <p:nvPr/>
          </p:nvSpPr>
          <p:spPr>
            <a:xfrm>
              <a:off x="796378" y="3338551"/>
              <a:ext cx="1253348" cy="215444"/>
            </a:xfrm>
            <a:prstGeom prst="rect">
              <a:avLst/>
            </a:prstGeom>
            <a:solidFill>
              <a:schemeClr val="bg1"/>
            </a:solidFill>
          </p:spPr>
          <p:txBody>
            <a:bodyPr wrap="square" lIns="0" tIns="0" rIns="0" bIns="0" rtlCol="0">
              <a:spAutoFit/>
            </a:bodyPr>
            <a:lstStyle/>
            <a:p>
              <a:pPr algn="ctr" defTabSz="914079">
                <a:defRPr/>
              </a:pPr>
              <a:r>
                <a:rPr lang="de-DE" sz="1400" b="1" dirty="0">
                  <a:solidFill>
                    <a:srgbClr val="404040"/>
                  </a:solidFill>
                  <a:latin typeface="Tahoma"/>
                </a:rPr>
                <a:t>Beispiel:</a:t>
              </a:r>
            </a:p>
          </p:txBody>
        </p:sp>
        <p:sp>
          <p:nvSpPr>
            <p:cNvPr id="20" name="Oval 8">
              <a:extLst>
                <a:ext uri="{FF2B5EF4-FFF2-40B4-BE49-F238E27FC236}">
                  <a16:creationId xmlns:a16="http://schemas.microsoft.com/office/drawing/2014/main" id="{D3F36EB9-9C20-1646-9C22-4D953B75A75B}"/>
                </a:ext>
              </a:extLst>
            </p:cNvPr>
            <p:cNvSpPr/>
            <p:nvPr/>
          </p:nvSpPr>
          <p:spPr>
            <a:xfrm>
              <a:off x="257483" y="3272628"/>
              <a:ext cx="376966" cy="376966"/>
            </a:xfrm>
            <a:prstGeom prst="ellipse">
              <a:avLst/>
            </a:prstGeom>
            <a:solidFill>
              <a:srgbClr val="404040"/>
            </a:solidFill>
            <a:ln w="38100">
              <a:no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79"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FFFFFF"/>
                  </a:solidFill>
                  <a:effectLst/>
                  <a:uLnTx/>
                  <a:uFillTx/>
                  <a:latin typeface="Tahoma"/>
                  <a:ea typeface="+mn-ea"/>
                  <a:cs typeface="+mn-cs"/>
                </a:rPr>
                <a:t>3</a:t>
              </a:r>
            </a:p>
          </p:txBody>
        </p:sp>
      </p:grpSp>
    </p:spTree>
    <p:extLst>
      <p:ext uri="{BB962C8B-B14F-4D97-AF65-F5344CB8AC3E}">
        <p14:creationId xmlns:p14="http://schemas.microsoft.com/office/powerpoint/2010/main" val="28530523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descr="Ein Bild, das Text, Tisch, drinnen, Schreibgerät enthält.&#10;&#10;Automatisch generierte Beschreibung">
            <a:extLst>
              <a:ext uri="{FF2B5EF4-FFF2-40B4-BE49-F238E27FC236}">
                <a16:creationId xmlns:a16="http://schemas.microsoft.com/office/drawing/2014/main" id="{09AED58D-3272-F749-83A9-91AA2AE7804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95"/>
          <a:stretch/>
        </p:blipFill>
        <p:spPr>
          <a:xfrm>
            <a:off x="-23925" y="566696"/>
            <a:ext cx="12239849" cy="1430278"/>
          </a:xfrm>
          <a:prstGeom prst="rect">
            <a:avLst/>
          </a:prstGeom>
        </p:spPr>
      </p:pic>
      <p:sp>
        <p:nvSpPr>
          <p:cNvPr id="5" name="Rectangle 21">
            <a:extLst>
              <a:ext uri="{FF2B5EF4-FFF2-40B4-BE49-F238E27FC236}">
                <a16:creationId xmlns:a16="http://schemas.microsoft.com/office/drawing/2014/main" id="{95CE66D6-3CEF-7B4E-910B-BDC92F9B8101}"/>
              </a:ext>
            </a:extLst>
          </p:cNvPr>
          <p:cNvSpPr/>
          <p:nvPr/>
        </p:nvSpPr>
        <p:spPr bwMode="auto">
          <a:xfrm>
            <a:off x="-23925" y="555284"/>
            <a:ext cx="12239849" cy="1452196"/>
          </a:xfrm>
          <a:prstGeom prst="rect">
            <a:avLst/>
          </a:prstGeom>
          <a:solidFill>
            <a:schemeClr val="tx2">
              <a:lumMod val="75000"/>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7" name="TextBox 6">
            <a:extLst>
              <a:ext uri="{FF2B5EF4-FFF2-40B4-BE49-F238E27FC236}">
                <a16:creationId xmlns:a16="http://schemas.microsoft.com/office/drawing/2014/main" id="{CF6AB2DF-74BF-8748-87D8-FCFDA75C68B5}"/>
              </a:ext>
            </a:extLst>
          </p:cNvPr>
          <p:cNvSpPr txBox="1"/>
          <p:nvPr/>
        </p:nvSpPr>
        <p:spPr>
          <a:xfrm>
            <a:off x="1077166" y="948262"/>
            <a:ext cx="3422412" cy="369332"/>
          </a:xfrm>
          <a:prstGeom prst="rect">
            <a:avLst/>
          </a:prstGeom>
          <a:noFill/>
        </p:spPr>
        <p:txBody>
          <a:bodyPr wrap="none" lIns="0" tIns="0" rIns="0" bIns="0" rtlCol="0">
            <a:spAutoFit/>
          </a:bodyPr>
          <a:lstStyle/>
          <a:p>
            <a:pPr marL="0" marR="0" lvl="0" indent="0" algn="l" defTabSz="914079"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300" normalizeH="0" baseline="0" noProof="0" dirty="0">
                <a:ln>
                  <a:noFill/>
                </a:ln>
                <a:solidFill>
                  <a:srgbClr val="FFFFFF"/>
                </a:solidFill>
                <a:effectLst/>
                <a:uLnTx/>
                <a:uFillTx/>
                <a:latin typeface="Tahoma"/>
                <a:ea typeface="+mn-ea"/>
                <a:cs typeface="+mn-cs"/>
              </a:rPr>
              <a:t>Bildungsbereich 3</a:t>
            </a:r>
          </a:p>
        </p:txBody>
      </p:sp>
      <p:sp>
        <p:nvSpPr>
          <p:cNvPr id="16" name="TextBox 7">
            <a:extLst>
              <a:ext uri="{FF2B5EF4-FFF2-40B4-BE49-F238E27FC236}">
                <a16:creationId xmlns:a16="http://schemas.microsoft.com/office/drawing/2014/main" id="{21E41DE7-6C40-2048-9CAA-377D11F356EA}"/>
              </a:ext>
            </a:extLst>
          </p:cNvPr>
          <p:cNvSpPr txBox="1"/>
          <p:nvPr/>
        </p:nvSpPr>
        <p:spPr>
          <a:xfrm>
            <a:off x="1077166" y="1494956"/>
            <a:ext cx="4786951" cy="246221"/>
          </a:xfrm>
          <a:prstGeom prst="rect">
            <a:avLst/>
          </a:prstGeom>
          <a:noFill/>
        </p:spPr>
        <p:txBody>
          <a:bodyPr wrap="none" lIns="0" tIns="0" rIns="0" bIns="0" rtlCol="0">
            <a:spAutoFit/>
          </a:bodyPr>
          <a:lstStyle/>
          <a:p>
            <a:pPr defTabSz="914079">
              <a:defRPr/>
            </a:pPr>
            <a:r>
              <a:rPr lang="de-DE" sz="1600" spc="300" dirty="0">
                <a:solidFill>
                  <a:srgbClr val="FFFFFF"/>
                </a:solidFill>
                <a:latin typeface="Tahoma"/>
              </a:rPr>
              <a:t>Sprache und Kommunikation - </a:t>
            </a:r>
            <a:r>
              <a:rPr lang="de-DE" sz="1600" b="1" spc="300" dirty="0">
                <a:solidFill>
                  <a:srgbClr val="FFFFFF"/>
                </a:solidFill>
                <a:latin typeface="Tahoma"/>
              </a:rPr>
              <a:t>Schule</a:t>
            </a:r>
            <a:endParaRPr kumimoji="0" lang="de-DE" sz="1600" b="1" i="0" u="none" strike="noStrike" kern="1200" cap="none" spc="300" normalizeH="0" baseline="0" noProof="0" dirty="0">
              <a:ln>
                <a:noFill/>
              </a:ln>
              <a:solidFill>
                <a:srgbClr val="FFFFFF"/>
              </a:solidFill>
              <a:effectLst/>
              <a:uLnTx/>
              <a:uFillTx/>
              <a:latin typeface="Tahoma"/>
              <a:ea typeface="+mn-ea"/>
              <a:cs typeface="+mn-cs"/>
            </a:endParaRPr>
          </a:p>
        </p:txBody>
      </p:sp>
      <p:cxnSp>
        <p:nvCxnSpPr>
          <p:cNvPr id="9" name="Straight Connector 8">
            <a:extLst>
              <a:ext uri="{FF2B5EF4-FFF2-40B4-BE49-F238E27FC236}">
                <a16:creationId xmlns:a16="http://schemas.microsoft.com/office/drawing/2014/main" id="{1AAB9A71-ADAA-0949-B752-37BC01FB2424}"/>
              </a:ext>
            </a:extLst>
          </p:cNvPr>
          <p:cNvCxnSpPr>
            <a:cxnSpLocks/>
          </p:cNvCxnSpPr>
          <p:nvPr/>
        </p:nvCxnSpPr>
        <p:spPr>
          <a:xfrm>
            <a:off x="1077166" y="1365360"/>
            <a:ext cx="94598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hteck 5">
            <a:extLst>
              <a:ext uri="{FF2B5EF4-FFF2-40B4-BE49-F238E27FC236}">
                <a16:creationId xmlns:a16="http://schemas.microsoft.com/office/drawing/2014/main" id="{D01BAF68-EF33-D24E-88A4-AA926B70E918}"/>
              </a:ext>
            </a:extLst>
          </p:cNvPr>
          <p:cNvSpPr/>
          <p:nvPr/>
        </p:nvSpPr>
        <p:spPr bwMode="auto">
          <a:xfrm>
            <a:off x="550062" y="3131288"/>
            <a:ext cx="4028038" cy="2361352"/>
          </a:xfrm>
          <a:prstGeom prst="rect">
            <a:avLst/>
          </a:prstGeom>
          <a:solidFill>
            <a:schemeClr val="bg1"/>
          </a:solid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104372" tIns="52502" rIns="102634" bIns="52502" numCol="1" rtlCol="0" anchor="ctr" anchorCtr="0" compatLnSpc="1">
            <a:prstTxWarp prst="textNoShape">
              <a:avLst/>
            </a:prstTxWarp>
          </a:bodyPr>
          <a:lstStyle/>
          <a:p>
            <a:pPr marL="0" marR="0" lvl="0" indent="0" algn="ctr" defTabSz="995065" rtl="0" eaLnBrk="1" fontAlgn="base" latinLnBrk="0" hangingPunct="1">
              <a:lnSpc>
                <a:spcPct val="100000"/>
              </a:lnSpc>
              <a:spcBef>
                <a:spcPct val="0"/>
              </a:spcBef>
              <a:spcAft>
                <a:spcPct val="0"/>
              </a:spcAft>
              <a:buClr>
                <a:srgbClr val="FF8000"/>
              </a:buClr>
              <a:buSzPct val="75000"/>
              <a:buFontTx/>
              <a:buNone/>
              <a:tabLst/>
              <a:defRPr/>
            </a:pPr>
            <a:endParaRPr kumimoji="0" lang="de-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17" name="Text Placeholder 2">
            <a:extLst>
              <a:ext uri="{FF2B5EF4-FFF2-40B4-BE49-F238E27FC236}">
                <a16:creationId xmlns:a16="http://schemas.microsoft.com/office/drawing/2014/main" id="{7F0FC37E-9FC0-7A4E-BD5C-89CFF83627C2}"/>
              </a:ext>
            </a:extLst>
          </p:cNvPr>
          <p:cNvSpPr txBox="1">
            <a:spLocks/>
          </p:cNvSpPr>
          <p:nvPr/>
        </p:nvSpPr>
        <p:spPr>
          <a:xfrm>
            <a:off x="764844" y="3407664"/>
            <a:ext cx="3734734" cy="344709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buFont typeface="Arial" panose="020B0604020202020204" pitchFamily="34" charset="0"/>
              <a:buChar char="•"/>
              <a:defRPr/>
            </a:pPr>
            <a:r>
              <a:rPr lang="de-DE" sz="1400" dirty="0">
                <a:solidFill>
                  <a:srgbClr val="7030A0"/>
                </a:solidFill>
                <a:latin typeface="Tahoma"/>
              </a:rPr>
              <a:t>Kinder                              Eltern</a:t>
            </a:r>
          </a:p>
          <a:p>
            <a:pPr marL="285750" indent="-285750">
              <a:lnSpc>
                <a:spcPct val="100000"/>
              </a:lnSpc>
              <a:spcBef>
                <a:spcPts val="0"/>
              </a:spcBef>
              <a:buFont typeface="Arial" panose="020B0604020202020204" pitchFamily="34" charset="0"/>
              <a:buChar char="•"/>
              <a:defRPr/>
            </a:pPr>
            <a:r>
              <a:rPr lang="de-DE" sz="1400" dirty="0">
                <a:solidFill>
                  <a:schemeClr val="accent5">
                    <a:lumMod val="50000"/>
                  </a:schemeClr>
                </a:solidFill>
                <a:latin typeface="Tahoma"/>
              </a:rPr>
              <a:t>Kinder                              Lehrer/ Erzieher</a:t>
            </a:r>
          </a:p>
          <a:p>
            <a:pPr marL="285750" indent="-285750">
              <a:lnSpc>
                <a:spcPct val="100000"/>
              </a:lnSpc>
              <a:spcBef>
                <a:spcPts val="0"/>
              </a:spcBef>
              <a:buFont typeface="Arial" panose="020B0604020202020204" pitchFamily="34" charset="0"/>
              <a:buChar char="•"/>
              <a:defRPr/>
            </a:pPr>
            <a:r>
              <a:rPr lang="de-DE" sz="1400" dirty="0">
                <a:solidFill>
                  <a:srgbClr val="FFD579"/>
                </a:solidFill>
                <a:latin typeface="Tahoma"/>
              </a:rPr>
              <a:t>Kinder                              Kinder</a:t>
            </a:r>
          </a:p>
          <a:p>
            <a:pPr marL="285750" indent="-285750">
              <a:lnSpc>
                <a:spcPct val="100000"/>
              </a:lnSpc>
              <a:spcBef>
                <a:spcPts val="0"/>
              </a:spcBef>
              <a:buFont typeface="Arial" panose="020B0604020202020204" pitchFamily="34" charset="0"/>
              <a:buChar char="•"/>
              <a:defRPr/>
            </a:pPr>
            <a:r>
              <a:rPr lang="de-DE" sz="1400" dirty="0">
                <a:solidFill>
                  <a:srgbClr val="C00000"/>
                </a:solidFill>
                <a:latin typeface="Tahoma"/>
              </a:rPr>
              <a:t>Lehrer / Erzieher	           Eltern</a:t>
            </a:r>
          </a:p>
          <a:p>
            <a:pPr marL="285750" indent="-285750">
              <a:lnSpc>
                <a:spcPct val="100000"/>
              </a:lnSpc>
              <a:spcBef>
                <a:spcPts val="0"/>
              </a:spcBef>
              <a:buFont typeface="Arial" panose="020B0604020202020204" pitchFamily="34" charset="0"/>
              <a:buChar char="•"/>
              <a:defRPr/>
            </a:pPr>
            <a:endParaRPr lang="de-DE" sz="1400" dirty="0">
              <a:solidFill>
                <a:srgbClr val="C00000"/>
              </a:solidFill>
              <a:latin typeface="Tahoma"/>
            </a:endParaRP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Gesprächsregeln lernen und anwenden können</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Zuhören lernen und auf das Gesagte reagieren zu können</a:t>
            </a:r>
          </a:p>
          <a:p>
            <a:pPr marL="285750" indent="-285750">
              <a:lnSpc>
                <a:spcPct val="100000"/>
              </a:lnSpc>
              <a:spcBef>
                <a:spcPts val="0"/>
              </a:spcBef>
              <a:buFont typeface="Arial" panose="020B0604020202020204" pitchFamily="34" charset="0"/>
              <a:buChar char="•"/>
              <a:defRPr/>
            </a:pPr>
            <a:endParaRPr lang="de-DE" sz="1400" dirty="0">
              <a:solidFill>
                <a:srgbClr val="404040"/>
              </a:solidFill>
              <a:latin typeface="Tahoma"/>
            </a:endParaRPr>
          </a:p>
          <a:p>
            <a:pPr marL="285750" indent="-285750">
              <a:lnSpc>
                <a:spcPct val="100000"/>
              </a:lnSpc>
              <a:spcBef>
                <a:spcPts val="0"/>
              </a:spcBef>
              <a:buFont typeface="Arial" panose="020B0604020202020204" pitchFamily="34" charset="0"/>
              <a:buChar char="•"/>
              <a:defRPr/>
            </a:pPr>
            <a:endParaRPr lang="de-DE" sz="1400" dirty="0">
              <a:solidFill>
                <a:srgbClr val="404040"/>
              </a:solidFill>
              <a:latin typeface="Tahoma"/>
            </a:endParaRPr>
          </a:p>
          <a:p>
            <a:pPr marL="285750" indent="-285750">
              <a:lnSpc>
                <a:spcPct val="100000"/>
              </a:lnSpc>
              <a:spcBef>
                <a:spcPts val="0"/>
              </a:spcBef>
              <a:buFont typeface="Arial" panose="020B0604020202020204" pitchFamily="34" charset="0"/>
              <a:buChar char="•"/>
              <a:defRPr/>
            </a:pPr>
            <a:endParaRPr lang="de-DE" sz="1400" dirty="0">
              <a:solidFill>
                <a:srgbClr val="404040"/>
              </a:solidFill>
              <a:latin typeface="Tahoma"/>
            </a:endParaRPr>
          </a:p>
          <a:p>
            <a:pPr marL="285750" indent="-285750">
              <a:lnSpc>
                <a:spcPct val="100000"/>
              </a:lnSpc>
              <a:spcBef>
                <a:spcPts val="0"/>
              </a:spcBef>
              <a:buFont typeface="Arial" panose="020B0604020202020204" pitchFamily="34" charset="0"/>
              <a:buChar char="•"/>
              <a:defRPr/>
            </a:pPr>
            <a:endParaRPr lang="de-DE" sz="1400" dirty="0">
              <a:solidFill>
                <a:srgbClr val="404040"/>
              </a:solidFill>
              <a:latin typeface="Tahoma"/>
            </a:endParaRPr>
          </a:p>
          <a:p>
            <a:pPr marL="285750" indent="-285750">
              <a:lnSpc>
                <a:spcPct val="100000"/>
              </a:lnSpc>
              <a:spcBef>
                <a:spcPts val="0"/>
              </a:spcBef>
              <a:buFont typeface="Arial" panose="020B0604020202020204" pitchFamily="34" charset="0"/>
              <a:buChar char="•"/>
              <a:defRPr/>
            </a:pPr>
            <a:endParaRPr lang="de-DE" sz="1400" dirty="0">
              <a:solidFill>
                <a:srgbClr val="404040"/>
              </a:solidFill>
              <a:latin typeface="Tahoma"/>
            </a:endParaRPr>
          </a:p>
          <a:p>
            <a:pPr>
              <a:lnSpc>
                <a:spcPct val="100000"/>
              </a:lnSpc>
              <a:spcBef>
                <a:spcPts val="0"/>
              </a:spcBef>
              <a:defRPr/>
            </a:pPr>
            <a:endParaRPr lang="de-DE" sz="1400" dirty="0">
              <a:solidFill>
                <a:srgbClr val="404040"/>
              </a:solidFill>
              <a:latin typeface="Tahoma"/>
            </a:endParaRPr>
          </a:p>
          <a:p>
            <a:pPr marL="285750" indent="-285750">
              <a:lnSpc>
                <a:spcPct val="100000"/>
              </a:lnSpc>
              <a:spcBef>
                <a:spcPts val="0"/>
              </a:spcBef>
              <a:buFont typeface="Arial" panose="020B0604020202020204" pitchFamily="34" charset="0"/>
              <a:buChar char="•"/>
              <a:defRPr/>
            </a:pPr>
            <a:endParaRPr lang="de-DE" sz="1400" dirty="0">
              <a:solidFill>
                <a:srgbClr val="404040"/>
              </a:solidFill>
              <a:latin typeface="Tahoma"/>
            </a:endParaRPr>
          </a:p>
        </p:txBody>
      </p:sp>
      <p:sp>
        <p:nvSpPr>
          <p:cNvPr id="18" name="TextBox 187">
            <a:extLst>
              <a:ext uri="{FF2B5EF4-FFF2-40B4-BE49-F238E27FC236}">
                <a16:creationId xmlns:a16="http://schemas.microsoft.com/office/drawing/2014/main" id="{EC919384-48B1-1C40-A98E-2D56503938D9}"/>
              </a:ext>
            </a:extLst>
          </p:cNvPr>
          <p:cNvSpPr txBox="1"/>
          <p:nvPr/>
        </p:nvSpPr>
        <p:spPr>
          <a:xfrm>
            <a:off x="874900" y="3040840"/>
            <a:ext cx="1253348" cy="215444"/>
          </a:xfrm>
          <a:prstGeom prst="rect">
            <a:avLst/>
          </a:prstGeom>
          <a:solidFill>
            <a:schemeClr val="bg1"/>
          </a:solidFill>
        </p:spPr>
        <p:txBody>
          <a:bodyPr wrap="square" lIns="0" tIns="0" rIns="0" bIns="0" rtlCol="0">
            <a:spAutoFit/>
          </a:bodyPr>
          <a:lstStyle/>
          <a:p>
            <a:pPr algn="ctr" defTabSz="914079">
              <a:defRPr/>
            </a:pPr>
            <a:r>
              <a:rPr lang="de-DE" sz="1400" b="1" dirty="0">
                <a:solidFill>
                  <a:srgbClr val="404040"/>
                </a:solidFill>
                <a:latin typeface="Tahoma"/>
              </a:rPr>
              <a:t>Beispiele:</a:t>
            </a:r>
          </a:p>
        </p:txBody>
      </p:sp>
      <p:sp>
        <p:nvSpPr>
          <p:cNvPr id="19" name="Oval 8">
            <a:extLst>
              <a:ext uri="{FF2B5EF4-FFF2-40B4-BE49-F238E27FC236}">
                <a16:creationId xmlns:a16="http://schemas.microsoft.com/office/drawing/2014/main" id="{6A905EAD-662A-D644-A62C-FBCDCDFFAD80}"/>
              </a:ext>
            </a:extLst>
          </p:cNvPr>
          <p:cNvSpPr/>
          <p:nvPr/>
        </p:nvSpPr>
        <p:spPr>
          <a:xfrm>
            <a:off x="336005" y="2974917"/>
            <a:ext cx="376966" cy="376966"/>
          </a:xfrm>
          <a:prstGeom prst="ellipse">
            <a:avLst/>
          </a:prstGeom>
          <a:solidFill>
            <a:srgbClr val="404040"/>
          </a:solidFill>
          <a:ln w="38100">
            <a:no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79"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FFFFFF"/>
                </a:solidFill>
                <a:effectLst/>
                <a:uLnTx/>
                <a:uFillTx/>
                <a:latin typeface="Tahoma"/>
                <a:ea typeface="+mn-ea"/>
                <a:cs typeface="+mn-cs"/>
              </a:rPr>
              <a:t>3</a:t>
            </a:r>
          </a:p>
        </p:txBody>
      </p:sp>
      <p:pic>
        <p:nvPicPr>
          <p:cNvPr id="27" name="Inhaltsplatzhalter 3">
            <a:extLst>
              <a:ext uri="{FF2B5EF4-FFF2-40B4-BE49-F238E27FC236}">
                <a16:creationId xmlns:a16="http://schemas.microsoft.com/office/drawing/2014/main" id="{C04BD8E3-BF10-C64E-8A1D-081F7D3C73E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a:xfrm>
            <a:off x="5508111" y="2543352"/>
            <a:ext cx="2414250" cy="3219000"/>
          </a:xfrm>
          <a:prstGeom prst="rect">
            <a:avLst/>
          </a:prstGeom>
        </p:spPr>
      </p:pic>
      <p:cxnSp>
        <p:nvCxnSpPr>
          <p:cNvPr id="3" name="Gerade Verbindung mit Pfeil 2">
            <a:extLst>
              <a:ext uri="{FF2B5EF4-FFF2-40B4-BE49-F238E27FC236}">
                <a16:creationId xmlns:a16="http://schemas.microsoft.com/office/drawing/2014/main" id="{24D40021-DAFA-744B-A0B3-79793309347B}"/>
              </a:ext>
            </a:extLst>
          </p:cNvPr>
          <p:cNvCxnSpPr/>
          <p:nvPr/>
        </p:nvCxnSpPr>
        <p:spPr>
          <a:xfrm>
            <a:off x="1744717" y="3531476"/>
            <a:ext cx="1345324" cy="0"/>
          </a:xfrm>
          <a:prstGeom prst="straightConnector1">
            <a:avLst/>
          </a:prstGeom>
          <a:ln w="2857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Gerade Verbindung mit Pfeil 19">
            <a:extLst>
              <a:ext uri="{FF2B5EF4-FFF2-40B4-BE49-F238E27FC236}">
                <a16:creationId xmlns:a16="http://schemas.microsoft.com/office/drawing/2014/main" id="{8A4CF94F-2DE1-EB47-987A-974AD183540A}"/>
              </a:ext>
            </a:extLst>
          </p:cNvPr>
          <p:cNvCxnSpPr/>
          <p:nvPr/>
        </p:nvCxnSpPr>
        <p:spPr>
          <a:xfrm>
            <a:off x="1744717" y="3736428"/>
            <a:ext cx="1345324" cy="0"/>
          </a:xfrm>
          <a:prstGeom prst="straightConnector1">
            <a:avLst/>
          </a:prstGeom>
          <a:ln w="2857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a:extLst>
              <a:ext uri="{FF2B5EF4-FFF2-40B4-BE49-F238E27FC236}">
                <a16:creationId xmlns:a16="http://schemas.microsoft.com/office/drawing/2014/main" id="{B01B03AB-190C-3F43-9A3D-1420E4F145AD}"/>
              </a:ext>
            </a:extLst>
          </p:cNvPr>
          <p:cNvCxnSpPr/>
          <p:nvPr/>
        </p:nvCxnSpPr>
        <p:spPr>
          <a:xfrm>
            <a:off x="1744717" y="3946635"/>
            <a:ext cx="1345324" cy="0"/>
          </a:xfrm>
          <a:prstGeom prst="straightConnector1">
            <a:avLst/>
          </a:prstGeom>
          <a:ln w="2857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a:extLst>
              <a:ext uri="{FF2B5EF4-FFF2-40B4-BE49-F238E27FC236}">
                <a16:creationId xmlns:a16="http://schemas.microsoft.com/office/drawing/2014/main" id="{049F2653-F0FE-984C-8890-2073E79B9770}"/>
              </a:ext>
            </a:extLst>
          </p:cNvPr>
          <p:cNvCxnSpPr>
            <a:cxnSpLocks/>
          </p:cNvCxnSpPr>
          <p:nvPr/>
        </p:nvCxnSpPr>
        <p:spPr>
          <a:xfrm>
            <a:off x="2459421" y="4152852"/>
            <a:ext cx="630620" cy="0"/>
          </a:xfrm>
          <a:prstGeom prst="straightConnector1">
            <a:avLst/>
          </a:prstGeom>
          <a:ln w="2857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8" name="Picture 6" descr="0003">
            <a:extLst>
              <a:ext uri="{FF2B5EF4-FFF2-40B4-BE49-F238E27FC236}">
                <a16:creationId xmlns:a16="http://schemas.microsoft.com/office/drawing/2014/main" id="{C61E0AC5-24FB-EF49-AF97-FC1957E528E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333332" y="2832052"/>
            <a:ext cx="3522663" cy="264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268015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Grafik 6" descr="Kitajahr 2014 1 512.JPG">
            <a:extLst>
              <a:ext uri="{FF2B5EF4-FFF2-40B4-BE49-F238E27FC236}">
                <a16:creationId xmlns:a16="http://schemas.microsoft.com/office/drawing/2014/main" id="{1025BA34-348E-AB48-9A3D-0C635A06BB28}"/>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13782" y="2543352"/>
            <a:ext cx="2802908" cy="321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Grafik 4" descr="August-Dezember 2013 164.JPG">
            <a:extLst>
              <a:ext uri="{FF2B5EF4-FFF2-40B4-BE49-F238E27FC236}">
                <a16:creationId xmlns:a16="http://schemas.microsoft.com/office/drawing/2014/main" id="{2364BAD0-328F-4D43-96A6-9A26EF6D0694}"/>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8844503" y="2151221"/>
            <a:ext cx="2668075" cy="199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Grafik 5" descr="August-Dezember 2013 413.JPG">
            <a:extLst>
              <a:ext uri="{FF2B5EF4-FFF2-40B4-BE49-F238E27FC236}">
                <a16:creationId xmlns:a16="http://schemas.microsoft.com/office/drawing/2014/main" id="{DB2EA6EC-9E4A-BA40-9D21-DDE2FB7075AB}"/>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8845664" y="4282573"/>
            <a:ext cx="2668075" cy="199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Grafik 24" descr="Ein Bild, das Text, Tisch, drinnen, Schreibgerät enthält.&#10;&#10;Automatisch generierte Beschreibung">
            <a:extLst>
              <a:ext uri="{FF2B5EF4-FFF2-40B4-BE49-F238E27FC236}">
                <a16:creationId xmlns:a16="http://schemas.microsoft.com/office/drawing/2014/main" id="{09AED58D-3272-F749-83A9-91AA2AE7804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r="-195"/>
          <a:stretch/>
        </p:blipFill>
        <p:spPr>
          <a:xfrm>
            <a:off x="-23925" y="566696"/>
            <a:ext cx="12239849" cy="1430278"/>
          </a:xfrm>
          <a:prstGeom prst="rect">
            <a:avLst/>
          </a:prstGeom>
        </p:spPr>
      </p:pic>
      <p:sp>
        <p:nvSpPr>
          <p:cNvPr id="5" name="Rectangle 21">
            <a:extLst>
              <a:ext uri="{FF2B5EF4-FFF2-40B4-BE49-F238E27FC236}">
                <a16:creationId xmlns:a16="http://schemas.microsoft.com/office/drawing/2014/main" id="{95CE66D6-3CEF-7B4E-910B-BDC92F9B8101}"/>
              </a:ext>
            </a:extLst>
          </p:cNvPr>
          <p:cNvSpPr/>
          <p:nvPr/>
        </p:nvSpPr>
        <p:spPr bwMode="auto">
          <a:xfrm>
            <a:off x="-23925" y="555284"/>
            <a:ext cx="12239849" cy="1452196"/>
          </a:xfrm>
          <a:prstGeom prst="rect">
            <a:avLst/>
          </a:prstGeom>
          <a:solidFill>
            <a:schemeClr val="accent1">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7" name="TextBox 6">
            <a:extLst>
              <a:ext uri="{FF2B5EF4-FFF2-40B4-BE49-F238E27FC236}">
                <a16:creationId xmlns:a16="http://schemas.microsoft.com/office/drawing/2014/main" id="{CF6AB2DF-74BF-8748-87D8-FCFDA75C68B5}"/>
              </a:ext>
            </a:extLst>
          </p:cNvPr>
          <p:cNvSpPr txBox="1"/>
          <p:nvPr/>
        </p:nvSpPr>
        <p:spPr>
          <a:xfrm>
            <a:off x="1077166" y="948262"/>
            <a:ext cx="3422412" cy="369332"/>
          </a:xfrm>
          <a:prstGeom prst="rect">
            <a:avLst/>
          </a:prstGeom>
          <a:noFill/>
        </p:spPr>
        <p:txBody>
          <a:bodyPr wrap="none" lIns="0" tIns="0" rIns="0" bIns="0" rtlCol="0">
            <a:spAutoFit/>
          </a:bodyPr>
          <a:lstStyle/>
          <a:p>
            <a:pPr marL="0" marR="0" lvl="0" indent="0" algn="l" defTabSz="914079"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300" normalizeH="0" baseline="0" noProof="0" dirty="0">
                <a:ln>
                  <a:noFill/>
                </a:ln>
                <a:solidFill>
                  <a:srgbClr val="FFFFFF"/>
                </a:solidFill>
                <a:effectLst/>
                <a:uLnTx/>
                <a:uFillTx/>
                <a:latin typeface="Tahoma"/>
                <a:ea typeface="+mn-ea"/>
                <a:cs typeface="+mn-cs"/>
              </a:rPr>
              <a:t>Bildungsbereich 4</a:t>
            </a:r>
          </a:p>
        </p:txBody>
      </p:sp>
      <p:sp>
        <p:nvSpPr>
          <p:cNvPr id="16" name="TextBox 7">
            <a:extLst>
              <a:ext uri="{FF2B5EF4-FFF2-40B4-BE49-F238E27FC236}">
                <a16:creationId xmlns:a16="http://schemas.microsoft.com/office/drawing/2014/main" id="{21E41DE7-6C40-2048-9CAA-377D11F356EA}"/>
              </a:ext>
            </a:extLst>
          </p:cNvPr>
          <p:cNvSpPr txBox="1"/>
          <p:nvPr/>
        </p:nvSpPr>
        <p:spPr>
          <a:xfrm>
            <a:off x="1077166" y="1494956"/>
            <a:ext cx="6714852" cy="246221"/>
          </a:xfrm>
          <a:prstGeom prst="rect">
            <a:avLst/>
          </a:prstGeom>
          <a:noFill/>
        </p:spPr>
        <p:txBody>
          <a:bodyPr wrap="none" lIns="0" tIns="0" rIns="0" bIns="0" rtlCol="0">
            <a:spAutoFit/>
          </a:bodyPr>
          <a:lstStyle/>
          <a:p>
            <a:pPr lvl="0" defTabSz="914079">
              <a:defRPr/>
            </a:pPr>
            <a:r>
              <a:rPr lang="de-DE" sz="1600" spc="300" dirty="0">
                <a:solidFill>
                  <a:srgbClr val="FFFFFF"/>
                </a:solidFill>
                <a:latin typeface="Tahoma"/>
              </a:rPr>
              <a:t>Soziale, kulturelle und interkulturelle Bildung - </a:t>
            </a:r>
            <a:r>
              <a:rPr lang="de-DE" sz="1600" b="1" spc="300" dirty="0">
                <a:solidFill>
                  <a:srgbClr val="FFFFFF"/>
                </a:solidFill>
                <a:latin typeface="Tahoma"/>
              </a:rPr>
              <a:t>Kita</a:t>
            </a:r>
            <a:endParaRPr kumimoji="0" lang="de-DE" sz="1600" b="1" i="0" u="none" strike="noStrike" kern="1200" cap="none" spc="300" normalizeH="0" baseline="0" noProof="0" dirty="0">
              <a:ln>
                <a:noFill/>
              </a:ln>
              <a:solidFill>
                <a:srgbClr val="FFFFFF"/>
              </a:solidFill>
              <a:effectLst/>
              <a:uLnTx/>
              <a:uFillTx/>
              <a:latin typeface="Tahoma"/>
              <a:ea typeface="+mn-ea"/>
              <a:cs typeface="+mn-cs"/>
            </a:endParaRPr>
          </a:p>
        </p:txBody>
      </p:sp>
      <p:cxnSp>
        <p:nvCxnSpPr>
          <p:cNvPr id="9" name="Straight Connector 8">
            <a:extLst>
              <a:ext uri="{FF2B5EF4-FFF2-40B4-BE49-F238E27FC236}">
                <a16:creationId xmlns:a16="http://schemas.microsoft.com/office/drawing/2014/main" id="{1AAB9A71-ADAA-0949-B752-37BC01FB2424}"/>
              </a:ext>
            </a:extLst>
          </p:cNvPr>
          <p:cNvCxnSpPr>
            <a:cxnSpLocks/>
          </p:cNvCxnSpPr>
          <p:nvPr/>
        </p:nvCxnSpPr>
        <p:spPr>
          <a:xfrm>
            <a:off x="1077166" y="1365360"/>
            <a:ext cx="94598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hteck 5">
            <a:extLst>
              <a:ext uri="{FF2B5EF4-FFF2-40B4-BE49-F238E27FC236}">
                <a16:creationId xmlns:a16="http://schemas.microsoft.com/office/drawing/2014/main" id="{9DC30DCA-9931-9846-A3A8-850DC44B0600}"/>
              </a:ext>
            </a:extLst>
          </p:cNvPr>
          <p:cNvSpPr/>
          <p:nvPr/>
        </p:nvSpPr>
        <p:spPr bwMode="auto">
          <a:xfrm>
            <a:off x="471540" y="2489168"/>
            <a:ext cx="4028038" cy="3312541"/>
          </a:xfrm>
          <a:prstGeom prst="rect">
            <a:avLst/>
          </a:prstGeom>
          <a:solidFill>
            <a:schemeClr val="bg1"/>
          </a:solid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104372" tIns="52502" rIns="102634" bIns="52502" numCol="1" rtlCol="0" anchor="ctr" anchorCtr="0" compatLnSpc="1">
            <a:prstTxWarp prst="textNoShape">
              <a:avLst/>
            </a:prstTxWarp>
          </a:bodyPr>
          <a:lstStyle/>
          <a:p>
            <a:pPr marL="0" marR="0" lvl="0" indent="0" algn="ctr" defTabSz="995065" rtl="0" eaLnBrk="1" fontAlgn="base" latinLnBrk="0" hangingPunct="1">
              <a:lnSpc>
                <a:spcPct val="100000"/>
              </a:lnSpc>
              <a:spcBef>
                <a:spcPct val="0"/>
              </a:spcBef>
              <a:spcAft>
                <a:spcPct val="0"/>
              </a:spcAft>
              <a:buClr>
                <a:srgbClr val="FF8000"/>
              </a:buClr>
              <a:buSzPct val="75000"/>
              <a:buFontTx/>
              <a:buNone/>
              <a:tabLst/>
              <a:defRPr/>
            </a:pPr>
            <a:endParaRPr kumimoji="0" lang="de-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17" name="TextBox 187">
            <a:extLst>
              <a:ext uri="{FF2B5EF4-FFF2-40B4-BE49-F238E27FC236}">
                <a16:creationId xmlns:a16="http://schemas.microsoft.com/office/drawing/2014/main" id="{96666B1E-58E2-D243-8427-815D34C3549F}"/>
              </a:ext>
            </a:extLst>
          </p:cNvPr>
          <p:cNvSpPr txBox="1"/>
          <p:nvPr/>
        </p:nvSpPr>
        <p:spPr>
          <a:xfrm>
            <a:off x="796378" y="2398721"/>
            <a:ext cx="1253348" cy="215444"/>
          </a:xfrm>
          <a:prstGeom prst="rect">
            <a:avLst/>
          </a:prstGeom>
          <a:solidFill>
            <a:schemeClr val="bg1"/>
          </a:solidFill>
        </p:spPr>
        <p:txBody>
          <a:bodyPr wrap="square" lIns="0" tIns="0" rIns="0" bIns="0" rtlCol="0">
            <a:spAutoFit/>
          </a:bodyPr>
          <a:lstStyle/>
          <a:p>
            <a:pPr algn="ctr" defTabSz="914079">
              <a:defRPr/>
            </a:pPr>
            <a:r>
              <a:rPr lang="de-DE" sz="1400" b="1" dirty="0">
                <a:solidFill>
                  <a:srgbClr val="404040"/>
                </a:solidFill>
                <a:latin typeface="Tahoma"/>
              </a:rPr>
              <a:t>Beispiele:</a:t>
            </a:r>
          </a:p>
        </p:txBody>
      </p:sp>
      <p:sp>
        <p:nvSpPr>
          <p:cNvPr id="18" name="Oval 8">
            <a:extLst>
              <a:ext uri="{FF2B5EF4-FFF2-40B4-BE49-F238E27FC236}">
                <a16:creationId xmlns:a16="http://schemas.microsoft.com/office/drawing/2014/main" id="{93162B3C-38D9-0E42-A025-8E7349CF2B0C}"/>
              </a:ext>
            </a:extLst>
          </p:cNvPr>
          <p:cNvSpPr/>
          <p:nvPr/>
        </p:nvSpPr>
        <p:spPr>
          <a:xfrm>
            <a:off x="257483" y="2332798"/>
            <a:ext cx="376966" cy="376966"/>
          </a:xfrm>
          <a:prstGeom prst="ellipse">
            <a:avLst/>
          </a:prstGeom>
          <a:solidFill>
            <a:srgbClr val="404040"/>
          </a:solidFill>
          <a:ln w="38100">
            <a:no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79" rtl="0" eaLnBrk="1" fontAlgn="auto" latinLnBrk="0" hangingPunct="1">
              <a:lnSpc>
                <a:spcPct val="100000"/>
              </a:lnSpc>
              <a:spcBef>
                <a:spcPts val="0"/>
              </a:spcBef>
              <a:spcAft>
                <a:spcPts val="0"/>
              </a:spcAft>
              <a:buClrTx/>
              <a:buSzTx/>
              <a:buFontTx/>
              <a:buNone/>
              <a:tabLst/>
              <a:defRPr/>
            </a:pPr>
            <a:r>
              <a:rPr lang="de-DE" sz="1600" b="1" dirty="0">
                <a:solidFill>
                  <a:srgbClr val="FFFFFF"/>
                </a:solidFill>
                <a:latin typeface="Tahoma"/>
              </a:rPr>
              <a:t>4</a:t>
            </a:r>
            <a:endParaRPr kumimoji="0" lang="de-DE" sz="1600" b="1"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Text Placeholder 2">
            <a:extLst>
              <a:ext uri="{FF2B5EF4-FFF2-40B4-BE49-F238E27FC236}">
                <a16:creationId xmlns:a16="http://schemas.microsoft.com/office/drawing/2014/main" id="{1F713AF2-F295-2648-8BA5-8B048E7A53C3}"/>
              </a:ext>
            </a:extLst>
          </p:cNvPr>
          <p:cNvSpPr txBox="1">
            <a:spLocks/>
          </p:cNvSpPr>
          <p:nvPr/>
        </p:nvSpPr>
        <p:spPr>
          <a:xfrm>
            <a:off x="729128" y="2858379"/>
            <a:ext cx="3512862" cy="3016210"/>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Lernen Verantwortung zu übernehmen (für sich selber, andere Kinder und für Dienste)</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Kennenlernen verschiedener Kulturen und Brauchtümer (Spiele, Lieder, Essen, Feste)</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Lernen Gefühle zu benennen und auch zu erkennen</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Selbstbildung ( in verschiedene Rollen schlüpfen)</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Mitbestimmung (Partizipation)</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Regeln erarbeiten, kennen und umsetzen</a:t>
            </a:r>
          </a:p>
          <a:p>
            <a:pPr>
              <a:lnSpc>
                <a:spcPct val="100000"/>
              </a:lnSpc>
              <a:spcBef>
                <a:spcPts val="0"/>
              </a:spcBef>
              <a:defRPr/>
            </a:pPr>
            <a:endParaRPr lang="de-DE" sz="1400" dirty="0">
              <a:solidFill>
                <a:schemeClr val="tx1">
                  <a:lumMod val="65000"/>
                  <a:lumOff val="35000"/>
                </a:schemeClr>
              </a:solidFill>
              <a:latin typeface="Tahoma"/>
            </a:endParaRPr>
          </a:p>
          <a:p>
            <a:pPr marL="285750" indent="-285750">
              <a:lnSpc>
                <a:spcPct val="100000"/>
              </a:lnSpc>
              <a:spcBef>
                <a:spcPts val="0"/>
              </a:spcBef>
              <a:buFont typeface="Arial" panose="020B0604020202020204" pitchFamily="34" charset="0"/>
              <a:buChar char="•"/>
              <a:defRPr/>
            </a:pPr>
            <a:endParaRPr lang="de-DE" sz="1400" dirty="0">
              <a:solidFill>
                <a:schemeClr val="tx1">
                  <a:lumMod val="65000"/>
                  <a:lumOff val="35000"/>
                </a:schemeClr>
              </a:solidFill>
              <a:latin typeface="Tahoma"/>
            </a:endParaRPr>
          </a:p>
        </p:txBody>
      </p:sp>
    </p:spTree>
    <p:extLst>
      <p:ext uri="{BB962C8B-B14F-4D97-AF65-F5344CB8AC3E}">
        <p14:creationId xmlns:p14="http://schemas.microsoft.com/office/powerpoint/2010/main" val="33796699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descr="Ein Bild, das Text, Tisch, drinnen, Schreibgerät enthält.&#10;&#10;Automatisch generierte Beschreibung">
            <a:extLst>
              <a:ext uri="{FF2B5EF4-FFF2-40B4-BE49-F238E27FC236}">
                <a16:creationId xmlns:a16="http://schemas.microsoft.com/office/drawing/2014/main" id="{09AED58D-3272-F749-83A9-91AA2AE7804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95"/>
          <a:stretch/>
        </p:blipFill>
        <p:spPr>
          <a:xfrm>
            <a:off x="-23925" y="566696"/>
            <a:ext cx="12239849" cy="1430278"/>
          </a:xfrm>
          <a:prstGeom prst="rect">
            <a:avLst/>
          </a:prstGeom>
        </p:spPr>
      </p:pic>
      <p:sp>
        <p:nvSpPr>
          <p:cNvPr id="5" name="Rectangle 21">
            <a:extLst>
              <a:ext uri="{FF2B5EF4-FFF2-40B4-BE49-F238E27FC236}">
                <a16:creationId xmlns:a16="http://schemas.microsoft.com/office/drawing/2014/main" id="{95CE66D6-3CEF-7B4E-910B-BDC92F9B8101}"/>
              </a:ext>
            </a:extLst>
          </p:cNvPr>
          <p:cNvSpPr/>
          <p:nvPr/>
        </p:nvSpPr>
        <p:spPr bwMode="auto">
          <a:xfrm>
            <a:off x="-23925" y="555284"/>
            <a:ext cx="12239849" cy="1452196"/>
          </a:xfrm>
          <a:prstGeom prst="rect">
            <a:avLst/>
          </a:prstGeom>
          <a:solidFill>
            <a:schemeClr val="tx2">
              <a:lumMod val="75000"/>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7" name="TextBox 6">
            <a:extLst>
              <a:ext uri="{FF2B5EF4-FFF2-40B4-BE49-F238E27FC236}">
                <a16:creationId xmlns:a16="http://schemas.microsoft.com/office/drawing/2014/main" id="{CF6AB2DF-74BF-8748-87D8-FCFDA75C68B5}"/>
              </a:ext>
            </a:extLst>
          </p:cNvPr>
          <p:cNvSpPr txBox="1"/>
          <p:nvPr/>
        </p:nvSpPr>
        <p:spPr>
          <a:xfrm>
            <a:off x="1077166" y="948262"/>
            <a:ext cx="3422412" cy="369332"/>
          </a:xfrm>
          <a:prstGeom prst="rect">
            <a:avLst/>
          </a:prstGeom>
          <a:noFill/>
        </p:spPr>
        <p:txBody>
          <a:bodyPr wrap="none" lIns="0" tIns="0" rIns="0" bIns="0" rtlCol="0">
            <a:spAutoFit/>
          </a:bodyPr>
          <a:lstStyle/>
          <a:p>
            <a:pPr marL="0" marR="0" lvl="0" indent="0" algn="l" defTabSz="914079"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300" normalizeH="0" baseline="0" noProof="0" dirty="0">
                <a:ln>
                  <a:noFill/>
                </a:ln>
                <a:solidFill>
                  <a:srgbClr val="FFFFFF"/>
                </a:solidFill>
                <a:effectLst/>
                <a:uLnTx/>
                <a:uFillTx/>
                <a:latin typeface="Tahoma"/>
                <a:ea typeface="+mn-ea"/>
                <a:cs typeface="+mn-cs"/>
              </a:rPr>
              <a:t>Bildungsbereich 4</a:t>
            </a:r>
          </a:p>
        </p:txBody>
      </p:sp>
      <p:sp>
        <p:nvSpPr>
          <p:cNvPr id="16" name="TextBox 7">
            <a:extLst>
              <a:ext uri="{FF2B5EF4-FFF2-40B4-BE49-F238E27FC236}">
                <a16:creationId xmlns:a16="http://schemas.microsoft.com/office/drawing/2014/main" id="{21E41DE7-6C40-2048-9CAA-377D11F356EA}"/>
              </a:ext>
            </a:extLst>
          </p:cNvPr>
          <p:cNvSpPr txBox="1"/>
          <p:nvPr/>
        </p:nvSpPr>
        <p:spPr>
          <a:xfrm>
            <a:off x="1077166" y="1494956"/>
            <a:ext cx="7064306" cy="246221"/>
          </a:xfrm>
          <a:prstGeom prst="rect">
            <a:avLst/>
          </a:prstGeom>
          <a:noFill/>
        </p:spPr>
        <p:txBody>
          <a:bodyPr wrap="none" lIns="0" tIns="0" rIns="0" bIns="0" rtlCol="0">
            <a:spAutoFit/>
          </a:bodyPr>
          <a:lstStyle/>
          <a:p>
            <a:pPr lvl="0" defTabSz="914079">
              <a:defRPr/>
            </a:pPr>
            <a:r>
              <a:rPr lang="de-DE" sz="1600" spc="300" dirty="0">
                <a:solidFill>
                  <a:srgbClr val="FFFFFF"/>
                </a:solidFill>
                <a:latin typeface="Tahoma"/>
              </a:rPr>
              <a:t>Soziale, kulturelle und interkulturelle Bildung - </a:t>
            </a:r>
            <a:r>
              <a:rPr lang="de-DE" sz="1600" b="1" spc="300" dirty="0">
                <a:solidFill>
                  <a:srgbClr val="FFFFFF"/>
                </a:solidFill>
                <a:latin typeface="Tahoma"/>
              </a:rPr>
              <a:t>Schule</a:t>
            </a:r>
            <a:endParaRPr kumimoji="0" lang="de-DE" sz="1600" b="1" i="0" u="none" strike="noStrike" kern="1200" cap="none" spc="300" normalizeH="0" baseline="0" noProof="0" dirty="0">
              <a:ln>
                <a:noFill/>
              </a:ln>
              <a:solidFill>
                <a:srgbClr val="FFFFFF"/>
              </a:solidFill>
              <a:effectLst/>
              <a:uLnTx/>
              <a:uFillTx/>
              <a:latin typeface="Tahoma"/>
              <a:ea typeface="+mn-ea"/>
              <a:cs typeface="+mn-cs"/>
            </a:endParaRPr>
          </a:p>
        </p:txBody>
      </p:sp>
      <p:cxnSp>
        <p:nvCxnSpPr>
          <p:cNvPr id="9" name="Straight Connector 8">
            <a:extLst>
              <a:ext uri="{FF2B5EF4-FFF2-40B4-BE49-F238E27FC236}">
                <a16:creationId xmlns:a16="http://schemas.microsoft.com/office/drawing/2014/main" id="{1AAB9A71-ADAA-0949-B752-37BC01FB2424}"/>
              </a:ext>
            </a:extLst>
          </p:cNvPr>
          <p:cNvCxnSpPr>
            <a:cxnSpLocks/>
          </p:cNvCxnSpPr>
          <p:nvPr/>
        </p:nvCxnSpPr>
        <p:spPr>
          <a:xfrm>
            <a:off x="1077166" y="1365360"/>
            <a:ext cx="94598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uppieren 1">
            <a:extLst>
              <a:ext uri="{FF2B5EF4-FFF2-40B4-BE49-F238E27FC236}">
                <a16:creationId xmlns:a16="http://schemas.microsoft.com/office/drawing/2014/main" id="{FAF7CC13-6109-A94B-B399-888286AE24F8}"/>
              </a:ext>
            </a:extLst>
          </p:cNvPr>
          <p:cNvGrpSpPr/>
          <p:nvPr/>
        </p:nvGrpSpPr>
        <p:grpSpPr>
          <a:xfrm>
            <a:off x="1823524" y="2322113"/>
            <a:ext cx="4260262" cy="4126545"/>
            <a:chOff x="257483" y="2332798"/>
            <a:chExt cx="4260262" cy="4126545"/>
          </a:xfrm>
        </p:grpSpPr>
        <p:sp>
          <p:nvSpPr>
            <p:cNvPr id="15" name="Rechteck 5">
              <a:extLst>
                <a:ext uri="{FF2B5EF4-FFF2-40B4-BE49-F238E27FC236}">
                  <a16:creationId xmlns:a16="http://schemas.microsoft.com/office/drawing/2014/main" id="{9DC30DCA-9931-9846-A3A8-850DC44B0600}"/>
                </a:ext>
              </a:extLst>
            </p:cNvPr>
            <p:cNvSpPr/>
            <p:nvPr/>
          </p:nvSpPr>
          <p:spPr bwMode="auto">
            <a:xfrm>
              <a:off x="471540" y="2489168"/>
              <a:ext cx="4028038" cy="3624081"/>
            </a:xfrm>
            <a:prstGeom prst="rect">
              <a:avLst/>
            </a:prstGeom>
            <a:solidFill>
              <a:schemeClr val="bg1"/>
            </a:solid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104372" tIns="52502" rIns="102634" bIns="52502" numCol="1" rtlCol="0" anchor="ctr" anchorCtr="0" compatLnSpc="1">
              <a:prstTxWarp prst="textNoShape">
                <a:avLst/>
              </a:prstTxWarp>
            </a:bodyPr>
            <a:lstStyle/>
            <a:p>
              <a:pPr marL="0" marR="0" lvl="0" indent="0" algn="ctr" defTabSz="995065" rtl="0" eaLnBrk="1" fontAlgn="base" latinLnBrk="0" hangingPunct="1">
                <a:lnSpc>
                  <a:spcPct val="100000"/>
                </a:lnSpc>
                <a:spcBef>
                  <a:spcPct val="0"/>
                </a:spcBef>
                <a:spcAft>
                  <a:spcPct val="0"/>
                </a:spcAft>
                <a:buClr>
                  <a:srgbClr val="FF8000"/>
                </a:buClr>
                <a:buSzPct val="75000"/>
                <a:buFontTx/>
                <a:buNone/>
                <a:tabLst/>
                <a:defRPr/>
              </a:pPr>
              <a:endParaRPr kumimoji="0" lang="de-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17" name="TextBox 187">
              <a:extLst>
                <a:ext uri="{FF2B5EF4-FFF2-40B4-BE49-F238E27FC236}">
                  <a16:creationId xmlns:a16="http://schemas.microsoft.com/office/drawing/2014/main" id="{96666B1E-58E2-D243-8427-815D34C3549F}"/>
                </a:ext>
              </a:extLst>
            </p:cNvPr>
            <p:cNvSpPr txBox="1"/>
            <p:nvPr/>
          </p:nvSpPr>
          <p:spPr>
            <a:xfrm>
              <a:off x="796378" y="2398721"/>
              <a:ext cx="1253348" cy="215444"/>
            </a:xfrm>
            <a:prstGeom prst="rect">
              <a:avLst/>
            </a:prstGeom>
            <a:solidFill>
              <a:schemeClr val="bg1"/>
            </a:solidFill>
          </p:spPr>
          <p:txBody>
            <a:bodyPr wrap="square" lIns="0" tIns="0" rIns="0" bIns="0" rtlCol="0">
              <a:spAutoFit/>
            </a:bodyPr>
            <a:lstStyle/>
            <a:p>
              <a:pPr algn="ctr" defTabSz="914079">
                <a:defRPr/>
              </a:pPr>
              <a:r>
                <a:rPr lang="de-DE" sz="1400" b="1" dirty="0">
                  <a:solidFill>
                    <a:srgbClr val="404040"/>
                  </a:solidFill>
                  <a:latin typeface="Tahoma"/>
                </a:rPr>
                <a:t>Beispiele:</a:t>
              </a:r>
            </a:p>
          </p:txBody>
        </p:sp>
        <p:sp>
          <p:nvSpPr>
            <p:cNvPr id="18" name="Oval 8">
              <a:extLst>
                <a:ext uri="{FF2B5EF4-FFF2-40B4-BE49-F238E27FC236}">
                  <a16:creationId xmlns:a16="http://schemas.microsoft.com/office/drawing/2014/main" id="{93162B3C-38D9-0E42-A025-8E7349CF2B0C}"/>
                </a:ext>
              </a:extLst>
            </p:cNvPr>
            <p:cNvSpPr/>
            <p:nvPr/>
          </p:nvSpPr>
          <p:spPr>
            <a:xfrm>
              <a:off x="257483" y="2332798"/>
              <a:ext cx="376966" cy="376966"/>
            </a:xfrm>
            <a:prstGeom prst="ellipse">
              <a:avLst/>
            </a:prstGeom>
            <a:solidFill>
              <a:srgbClr val="404040"/>
            </a:solidFill>
            <a:ln w="38100">
              <a:no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79" rtl="0" eaLnBrk="1" fontAlgn="auto" latinLnBrk="0" hangingPunct="1">
                <a:lnSpc>
                  <a:spcPct val="100000"/>
                </a:lnSpc>
                <a:spcBef>
                  <a:spcPts val="0"/>
                </a:spcBef>
                <a:spcAft>
                  <a:spcPts val="0"/>
                </a:spcAft>
                <a:buClrTx/>
                <a:buSzTx/>
                <a:buFontTx/>
                <a:buNone/>
                <a:tabLst/>
                <a:defRPr/>
              </a:pPr>
              <a:r>
                <a:rPr lang="de-DE" sz="1600" b="1" dirty="0">
                  <a:solidFill>
                    <a:srgbClr val="FFFFFF"/>
                  </a:solidFill>
                  <a:latin typeface="Tahoma"/>
                </a:rPr>
                <a:t>4</a:t>
              </a:r>
              <a:endParaRPr kumimoji="0" lang="de-DE" sz="1600" b="1"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Text Placeholder 2">
              <a:extLst>
                <a:ext uri="{FF2B5EF4-FFF2-40B4-BE49-F238E27FC236}">
                  <a16:creationId xmlns:a16="http://schemas.microsoft.com/office/drawing/2014/main" id="{1F713AF2-F295-2648-8BA5-8B048E7A53C3}"/>
                </a:ext>
              </a:extLst>
            </p:cNvPr>
            <p:cNvSpPr txBox="1">
              <a:spLocks/>
            </p:cNvSpPr>
            <p:nvPr/>
          </p:nvSpPr>
          <p:spPr>
            <a:xfrm>
              <a:off x="652616" y="2792030"/>
              <a:ext cx="3865129" cy="2369880"/>
            </a:xfrm>
            <a:prstGeom prst="rect">
              <a:avLst/>
            </a:prstGeom>
          </p:spPr>
          <p:txBody>
            <a:bodyPr vert="horz" wrap="square" lIns="0" tIns="0" rIns="0" bIns="0" rtlCol="0">
              <a:spAutoFit/>
            </a:bodyPr>
            <a:lstStyle>
              <a:defPPr>
                <a:defRPr lang="de-DE"/>
              </a:defPPr>
              <a:lvl1pPr marL="285750" indent="-285750">
                <a:lnSpc>
                  <a:spcPct val="100000"/>
                </a:lnSpc>
                <a:spcBef>
                  <a:spcPts val="0"/>
                </a:spcBef>
                <a:buFont typeface="Arial" panose="020B0604020202020204" pitchFamily="34" charset="0"/>
                <a:buChar char="•"/>
                <a:defRPr sz="1400">
                  <a:solidFill>
                    <a:srgbClr val="404040"/>
                  </a:solidFill>
                  <a:latin typeface="Tahoma"/>
                </a:defRPr>
              </a:lvl1pPr>
              <a:lvl2pPr marL="234000" indent="-234000">
                <a:lnSpc>
                  <a:spcPct val="90000"/>
                </a:lnSpc>
                <a:spcBef>
                  <a:spcPts val="600"/>
                </a:spcBef>
                <a:buFont typeface="Arial" panose="020B0604020202020204" pitchFamily="34" charset="0"/>
                <a:buChar char="•"/>
                <a:defRPr sz="1100"/>
              </a:lvl2pPr>
              <a:lvl3pPr marL="234000" indent="-234000">
                <a:lnSpc>
                  <a:spcPct val="90000"/>
                </a:lnSpc>
                <a:spcBef>
                  <a:spcPts val="600"/>
                </a:spcBef>
                <a:buFont typeface="Arial" panose="020B0604020202020204" pitchFamily="34" charset="0"/>
                <a:buChar char="•"/>
                <a:defRPr sz="1100"/>
              </a:lvl3pPr>
              <a:lvl4pPr marL="234000" indent="-234000">
                <a:lnSpc>
                  <a:spcPct val="90000"/>
                </a:lnSpc>
                <a:spcBef>
                  <a:spcPts val="600"/>
                </a:spcBef>
                <a:buFont typeface="Arial" panose="020B0604020202020204" pitchFamily="34" charset="0"/>
                <a:buChar char="•"/>
                <a:defRPr sz="1100"/>
              </a:lvl4pPr>
              <a:lvl5pPr marL="234000" indent="-234000">
                <a:lnSpc>
                  <a:spcPct val="90000"/>
                </a:lnSpc>
                <a:spcBef>
                  <a:spcPts val="600"/>
                </a:spcBef>
                <a:buFont typeface="Arial" panose="020B0604020202020204" pitchFamily="34" charset="0"/>
                <a:buChar char="•"/>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de-DE" altLang="de-DE" dirty="0">
                  <a:solidFill>
                    <a:schemeClr val="tx1">
                      <a:lumMod val="65000"/>
                      <a:lumOff val="35000"/>
                    </a:schemeClr>
                  </a:solidFill>
                </a:rPr>
                <a:t>Verantwortung für das eigene Handeln zu übernehmen,</a:t>
              </a:r>
            </a:p>
            <a:p>
              <a:r>
                <a:rPr lang="de-DE" altLang="de-DE" dirty="0">
                  <a:solidFill>
                    <a:schemeClr val="tx1">
                      <a:lumMod val="65000"/>
                      <a:lumOff val="35000"/>
                    </a:schemeClr>
                  </a:solidFill>
                </a:rPr>
                <a:t>ihre Wünsche und Bedürfnisse zu äußern,</a:t>
              </a:r>
            </a:p>
            <a:p>
              <a:r>
                <a:rPr lang="de-DE" altLang="de-DE" dirty="0">
                  <a:solidFill>
                    <a:schemeClr val="tx1">
                      <a:lumMod val="65000"/>
                      <a:lumOff val="35000"/>
                    </a:schemeClr>
                  </a:solidFill>
                </a:rPr>
                <a:t>Meinungen und Vorstellungen anderer Menschen zu erfahren,</a:t>
              </a:r>
            </a:p>
            <a:p>
              <a:r>
                <a:rPr lang="de-DE" altLang="de-DE" dirty="0">
                  <a:solidFill>
                    <a:schemeClr val="tx1">
                      <a:lumMod val="65000"/>
                      <a:lumOff val="35000"/>
                    </a:schemeClr>
                  </a:solidFill>
                </a:rPr>
                <a:t>Regeln gemeinsam zu erarbeiten,</a:t>
              </a:r>
            </a:p>
            <a:p>
              <a:r>
                <a:rPr lang="de-DE" altLang="de-DE" dirty="0">
                  <a:solidFill>
                    <a:schemeClr val="tx1">
                      <a:lumMod val="65000"/>
                      <a:lumOff val="35000"/>
                    </a:schemeClr>
                  </a:solidFill>
                </a:rPr>
                <a:t>ihre eigene Herkunft zu erkunden und eine eigene Kultur entwickeln</a:t>
              </a:r>
            </a:p>
            <a:p>
              <a:r>
                <a:rPr lang="de-DE" altLang="de-DE" dirty="0">
                  <a:solidFill>
                    <a:schemeClr val="tx1">
                      <a:lumMod val="65000"/>
                      <a:lumOff val="35000"/>
                    </a:schemeClr>
                  </a:solidFill>
                </a:rPr>
                <a:t>Gesundes Selbstvertrauen schaffen</a:t>
              </a:r>
            </a:p>
            <a:p>
              <a:endParaRPr lang="de-DE" dirty="0">
                <a:solidFill>
                  <a:schemeClr val="tx1">
                    <a:lumMod val="65000"/>
                    <a:lumOff val="35000"/>
                  </a:schemeClr>
                </a:solidFill>
              </a:endParaRPr>
            </a:p>
            <a:p>
              <a:endParaRPr lang="de-DE" dirty="0">
                <a:solidFill>
                  <a:schemeClr val="tx1">
                    <a:lumMod val="65000"/>
                    <a:lumOff val="35000"/>
                  </a:schemeClr>
                </a:solidFill>
              </a:endParaRPr>
            </a:p>
          </p:txBody>
        </p:sp>
        <p:sp>
          <p:nvSpPr>
            <p:cNvPr id="19" name="Text Placeholder 2">
              <a:extLst>
                <a:ext uri="{FF2B5EF4-FFF2-40B4-BE49-F238E27FC236}">
                  <a16:creationId xmlns:a16="http://schemas.microsoft.com/office/drawing/2014/main" id="{B8B9D4A8-B836-6343-8C99-3CABCF8464F5}"/>
                </a:ext>
              </a:extLst>
            </p:cNvPr>
            <p:cNvSpPr txBox="1">
              <a:spLocks/>
            </p:cNvSpPr>
            <p:nvPr/>
          </p:nvSpPr>
          <p:spPr>
            <a:xfrm>
              <a:off x="1077167" y="4815816"/>
              <a:ext cx="2580434" cy="1643527"/>
            </a:xfrm>
            <a:prstGeom prst="rect">
              <a:avLst/>
            </a:prstGeom>
          </p:spPr>
          <p:txBody>
            <a:bodyPr vert="horz" wrap="square" lIns="0" tIns="0" rIns="0" bIns="0" rtlCol="0">
              <a:spAutoFit/>
            </a:bodyPr>
            <a:lstStyle>
              <a:defPPr>
                <a:defRPr lang="de-DE"/>
              </a:defPPr>
              <a:lvl1pPr marL="285750" indent="-285750">
                <a:lnSpc>
                  <a:spcPct val="100000"/>
                </a:lnSpc>
                <a:spcBef>
                  <a:spcPts val="0"/>
                </a:spcBef>
                <a:buFont typeface="Arial" panose="020B0604020202020204" pitchFamily="34" charset="0"/>
                <a:buChar char="•"/>
                <a:defRPr sz="1400">
                  <a:solidFill>
                    <a:srgbClr val="404040"/>
                  </a:solidFill>
                  <a:latin typeface="Tahoma"/>
                </a:defRPr>
              </a:lvl1pPr>
              <a:lvl2pPr marL="234000" indent="-234000">
                <a:lnSpc>
                  <a:spcPct val="90000"/>
                </a:lnSpc>
                <a:spcBef>
                  <a:spcPts val="600"/>
                </a:spcBef>
                <a:buFont typeface="Arial" panose="020B0604020202020204" pitchFamily="34" charset="0"/>
                <a:buChar char="•"/>
                <a:defRPr sz="1100"/>
              </a:lvl2pPr>
              <a:lvl3pPr marL="234000" indent="-234000">
                <a:lnSpc>
                  <a:spcPct val="90000"/>
                </a:lnSpc>
                <a:spcBef>
                  <a:spcPts val="600"/>
                </a:spcBef>
                <a:buFont typeface="Arial" panose="020B0604020202020204" pitchFamily="34" charset="0"/>
                <a:buChar char="•"/>
                <a:defRPr sz="1100"/>
              </a:lvl3pPr>
              <a:lvl4pPr marL="234000" indent="-234000">
                <a:lnSpc>
                  <a:spcPct val="90000"/>
                </a:lnSpc>
                <a:spcBef>
                  <a:spcPts val="600"/>
                </a:spcBef>
                <a:buFont typeface="Arial" panose="020B0604020202020204" pitchFamily="34" charset="0"/>
                <a:buChar char="•"/>
                <a:defRPr sz="1100"/>
              </a:lvl4pPr>
              <a:lvl5pPr marL="234000" indent="-234000">
                <a:lnSpc>
                  <a:spcPct val="90000"/>
                </a:lnSpc>
                <a:spcBef>
                  <a:spcPts val="600"/>
                </a:spcBef>
                <a:buFont typeface="Arial" panose="020B0604020202020204" pitchFamily="34" charset="0"/>
                <a:buChar char="•"/>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4"/>
              <a:r>
                <a:rPr lang="de-DE" altLang="de-DE" sz="1200" dirty="0">
                  <a:solidFill>
                    <a:schemeClr val="tx1">
                      <a:lumMod val="65000"/>
                      <a:lumOff val="35000"/>
                    </a:schemeClr>
                  </a:solidFill>
                  <a:latin typeface="Tahoma"/>
                </a:rPr>
                <a:t>Meckerkasten</a:t>
              </a:r>
            </a:p>
            <a:p>
              <a:pPr lvl="3"/>
              <a:r>
                <a:rPr lang="de-DE" altLang="de-DE" sz="1200" dirty="0">
                  <a:solidFill>
                    <a:schemeClr val="tx1">
                      <a:lumMod val="65000"/>
                      <a:lumOff val="35000"/>
                    </a:schemeClr>
                  </a:solidFill>
                  <a:latin typeface="Tahoma"/>
                </a:rPr>
                <a:t>Schülerparlament</a:t>
              </a:r>
            </a:p>
            <a:p>
              <a:pPr lvl="3"/>
              <a:r>
                <a:rPr lang="de-DE" altLang="de-DE" sz="1200" dirty="0">
                  <a:solidFill>
                    <a:schemeClr val="tx1">
                      <a:lumMod val="65000"/>
                      <a:lumOff val="35000"/>
                    </a:schemeClr>
                  </a:solidFill>
                  <a:latin typeface="Tahoma"/>
                </a:rPr>
                <a:t>Demokratie wird praktiziert, z.B. bei der Wahl der Klassensprecher, die später das Schülerparlament bilden</a:t>
              </a:r>
            </a:p>
            <a:p>
              <a:endParaRPr lang="de-DE" sz="1600" dirty="0">
                <a:solidFill>
                  <a:schemeClr val="tx1">
                    <a:lumMod val="65000"/>
                    <a:lumOff val="35000"/>
                  </a:schemeClr>
                </a:solidFill>
              </a:endParaRPr>
            </a:p>
            <a:p>
              <a:endParaRPr lang="de-DE" sz="1600" dirty="0">
                <a:solidFill>
                  <a:schemeClr val="tx1">
                    <a:lumMod val="65000"/>
                    <a:lumOff val="35000"/>
                  </a:schemeClr>
                </a:solidFill>
              </a:endParaRPr>
            </a:p>
          </p:txBody>
        </p:sp>
      </p:grpSp>
      <p:pic>
        <p:nvPicPr>
          <p:cNvPr id="20" name="Picture 6" descr="meckerkasten">
            <a:extLst>
              <a:ext uri="{FF2B5EF4-FFF2-40B4-BE49-F238E27FC236}">
                <a16:creationId xmlns:a16="http://schemas.microsoft.com/office/drawing/2014/main" id="{EFE86D66-0A16-FA44-8BCB-322024BFFD60}"/>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714593" y="2741606"/>
            <a:ext cx="2439826" cy="3112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976159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descr="Ein Bild, das Text, Tisch, drinnen, Schreibgerät enthält.&#10;&#10;Automatisch generierte Beschreibung">
            <a:extLst>
              <a:ext uri="{FF2B5EF4-FFF2-40B4-BE49-F238E27FC236}">
                <a16:creationId xmlns:a16="http://schemas.microsoft.com/office/drawing/2014/main" id="{09AED58D-3272-F749-83A9-91AA2AE7804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95"/>
          <a:stretch/>
        </p:blipFill>
        <p:spPr>
          <a:xfrm>
            <a:off x="-23925" y="566696"/>
            <a:ext cx="12239849" cy="1430278"/>
          </a:xfrm>
          <a:prstGeom prst="rect">
            <a:avLst/>
          </a:prstGeom>
        </p:spPr>
      </p:pic>
      <p:sp>
        <p:nvSpPr>
          <p:cNvPr id="5" name="Rectangle 21">
            <a:extLst>
              <a:ext uri="{FF2B5EF4-FFF2-40B4-BE49-F238E27FC236}">
                <a16:creationId xmlns:a16="http://schemas.microsoft.com/office/drawing/2014/main" id="{95CE66D6-3CEF-7B4E-910B-BDC92F9B8101}"/>
              </a:ext>
            </a:extLst>
          </p:cNvPr>
          <p:cNvSpPr/>
          <p:nvPr/>
        </p:nvSpPr>
        <p:spPr bwMode="auto">
          <a:xfrm>
            <a:off x="-23925" y="555284"/>
            <a:ext cx="12239849" cy="1452196"/>
          </a:xfrm>
          <a:prstGeom prst="rect">
            <a:avLst/>
          </a:prstGeom>
          <a:solidFill>
            <a:schemeClr val="accent1">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7" name="TextBox 6">
            <a:extLst>
              <a:ext uri="{FF2B5EF4-FFF2-40B4-BE49-F238E27FC236}">
                <a16:creationId xmlns:a16="http://schemas.microsoft.com/office/drawing/2014/main" id="{CF6AB2DF-74BF-8748-87D8-FCFDA75C68B5}"/>
              </a:ext>
            </a:extLst>
          </p:cNvPr>
          <p:cNvSpPr txBox="1"/>
          <p:nvPr/>
        </p:nvSpPr>
        <p:spPr>
          <a:xfrm>
            <a:off x="1077166" y="948262"/>
            <a:ext cx="3422412" cy="369332"/>
          </a:xfrm>
          <a:prstGeom prst="rect">
            <a:avLst/>
          </a:prstGeom>
          <a:noFill/>
        </p:spPr>
        <p:txBody>
          <a:bodyPr wrap="none" lIns="0" tIns="0" rIns="0" bIns="0" rtlCol="0">
            <a:spAutoFit/>
          </a:bodyPr>
          <a:lstStyle/>
          <a:p>
            <a:pPr marL="0" marR="0" lvl="0" indent="0" algn="l" defTabSz="914079"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300" normalizeH="0" baseline="0" noProof="0" dirty="0">
                <a:ln>
                  <a:noFill/>
                </a:ln>
                <a:solidFill>
                  <a:srgbClr val="FFFFFF"/>
                </a:solidFill>
                <a:effectLst/>
                <a:uLnTx/>
                <a:uFillTx/>
                <a:latin typeface="Tahoma"/>
                <a:ea typeface="+mn-ea"/>
                <a:cs typeface="+mn-cs"/>
              </a:rPr>
              <a:t>Bildungsbereich 5</a:t>
            </a:r>
          </a:p>
        </p:txBody>
      </p:sp>
      <p:sp>
        <p:nvSpPr>
          <p:cNvPr id="16" name="TextBox 7">
            <a:extLst>
              <a:ext uri="{FF2B5EF4-FFF2-40B4-BE49-F238E27FC236}">
                <a16:creationId xmlns:a16="http://schemas.microsoft.com/office/drawing/2014/main" id="{21E41DE7-6C40-2048-9CAA-377D11F356EA}"/>
              </a:ext>
            </a:extLst>
          </p:cNvPr>
          <p:cNvSpPr txBox="1"/>
          <p:nvPr/>
        </p:nvSpPr>
        <p:spPr>
          <a:xfrm>
            <a:off x="1077166" y="1494956"/>
            <a:ext cx="4455963" cy="246221"/>
          </a:xfrm>
          <a:prstGeom prst="rect">
            <a:avLst/>
          </a:prstGeom>
          <a:noFill/>
        </p:spPr>
        <p:txBody>
          <a:bodyPr wrap="none" lIns="0" tIns="0" rIns="0" bIns="0" rtlCol="0">
            <a:spAutoFit/>
          </a:bodyPr>
          <a:lstStyle/>
          <a:p>
            <a:pPr lvl="0" defTabSz="914079">
              <a:defRPr/>
            </a:pPr>
            <a:r>
              <a:rPr lang="de-DE" sz="1600" spc="300" dirty="0">
                <a:solidFill>
                  <a:srgbClr val="FFFFFF"/>
                </a:solidFill>
                <a:latin typeface="Tahoma"/>
              </a:rPr>
              <a:t>Musisch-ästhetische Bildung - </a:t>
            </a:r>
            <a:r>
              <a:rPr lang="de-DE" sz="1600" b="1" spc="300" dirty="0">
                <a:solidFill>
                  <a:srgbClr val="FFFFFF"/>
                </a:solidFill>
                <a:latin typeface="Tahoma"/>
              </a:rPr>
              <a:t>Kita</a:t>
            </a:r>
            <a:endParaRPr kumimoji="0" lang="de-DE" sz="1600" b="1" i="0" u="none" strike="noStrike" kern="1200" cap="none" spc="300" normalizeH="0" baseline="0" noProof="0" dirty="0">
              <a:ln>
                <a:noFill/>
              </a:ln>
              <a:solidFill>
                <a:srgbClr val="FFFFFF"/>
              </a:solidFill>
              <a:effectLst/>
              <a:uLnTx/>
              <a:uFillTx/>
              <a:latin typeface="Tahoma"/>
              <a:ea typeface="+mn-ea"/>
              <a:cs typeface="+mn-cs"/>
            </a:endParaRPr>
          </a:p>
        </p:txBody>
      </p:sp>
      <p:cxnSp>
        <p:nvCxnSpPr>
          <p:cNvPr id="9" name="Straight Connector 8">
            <a:extLst>
              <a:ext uri="{FF2B5EF4-FFF2-40B4-BE49-F238E27FC236}">
                <a16:creationId xmlns:a16="http://schemas.microsoft.com/office/drawing/2014/main" id="{1AAB9A71-ADAA-0949-B752-37BC01FB2424}"/>
              </a:ext>
            </a:extLst>
          </p:cNvPr>
          <p:cNvCxnSpPr>
            <a:cxnSpLocks/>
          </p:cNvCxnSpPr>
          <p:nvPr/>
        </p:nvCxnSpPr>
        <p:spPr>
          <a:xfrm>
            <a:off x="1077166" y="1365360"/>
            <a:ext cx="94598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hteck 5">
            <a:extLst>
              <a:ext uri="{FF2B5EF4-FFF2-40B4-BE49-F238E27FC236}">
                <a16:creationId xmlns:a16="http://schemas.microsoft.com/office/drawing/2014/main" id="{9DC30DCA-9931-9846-A3A8-850DC44B0600}"/>
              </a:ext>
            </a:extLst>
          </p:cNvPr>
          <p:cNvSpPr/>
          <p:nvPr/>
        </p:nvSpPr>
        <p:spPr bwMode="auto">
          <a:xfrm>
            <a:off x="471540" y="2489168"/>
            <a:ext cx="4028038" cy="3312541"/>
          </a:xfrm>
          <a:prstGeom prst="rect">
            <a:avLst/>
          </a:prstGeom>
          <a:solidFill>
            <a:schemeClr val="bg1"/>
          </a:solid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104372" tIns="52502" rIns="102634" bIns="52502" numCol="1" rtlCol="0" anchor="ctr" anchorCtr="0" compatLnSpc="1">
            <a:prstTxWarp prst="textNoShape">
              <a:avLst/>
            </a:prstTxWarp>
          </a:bodyPr>
          <a:lstStyle/>
          <a:p>
            <a:pPr marL="0" marR="0" lvl="0" indent="0" algn="ctr" defTabSz="995065" rtl="0" eaLnBrk="1" fontAlgn="base" latinLnBrk="0" hangingPunct="1">
              <a:lnSpc>
                <a:spcPct val="100000"/>
              </a:lnSpc>
              <a:spcBef>
                <a:spcPct val="0"/>
              </a:spcBef>
              <a:spcAft>
                <a:spcPct val="0"/>
              </a:spcAft>
              <a:buClr>
                <a:srgbClr val="FF8000"/>
              </a:buClr>
              <a:buSzPct val="75000"/>
              <a:buFontTx/>
              <a:buNone/>
              <a:tabLst/>
              <a:defRPr/>
            </a:pPr>
            <a:endParaRPr kumimoji="0" lang="de-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17" name="TextBox 187">
            <a:extLst>
              <a:ext uri="{FF2B5EF4-FFF2-40B4-BE49-F238E27FC236}">
                <a16:creationId xmlns:a16="http://schemas.microsoft.com/office/drawing/2014/main" id="{96666B1E-58E2-D243-8427-815D34C3549F}"/>
              </a:ext>
            </a:extLst>
          </p:cNvPr>
          <p:cNvSpPr txBox="1"/>
          <p:nvPr/>
        </p:nvSpPr>
        <p:spPr>
          <a:xfrm>
            <a:off x="796378" y="2398721"/>
            <a:ext cx="1253348" cy="215444"/>
          </a:xfrm>
          <a:prstGeom prst="rect">
            <a:avLst/>
          </a:prstGeom>
          <a:solidFill>
            <a:schemeClr val="bg1"/>
          </a:solidFill>
        </p:spPr>
        <p:txBody>
          <a:bodyPr wrap="square" lIns="0" tIns="0" rIns="0" bIns="0" rtlCol="0">
            <a:spAutoFit/>
          </a:bodyPr>
          <a:lstStyle/>
          <a:p>
            <a:pPr algn="ctr" defTabSz="914079">
              <a:defRPr/>
            </a:pPr>
            <a:r>
              <a:rPr lang="de-DE" sz="1400" b="1" dirty="0">
                <a:solidFill>
                  <a:srgbClr val="404040"/>
                </a:solidFill>
                <a:latin typeface="Tahoma"/>
              </a:rPr>
              <a:t>Beispiele:</a:t>
            </a:r>
          </a:p>
        </p:txBody>
      </p:sp>
      <p:sp>
        <p:nvSpPr>
          <p:cNvPr id="18" name="Oval 8">
            <a:extLst>
              <a:ext uri="{FF2B5EF4-FFF2-40B4-BE49-F238E27FC236}">
                <a16:creationId xmlns:a16="http://schemas.microsoft.com/office/drawing/2014/main" id="{93162B3C-38D9-0E42-A025-8E7349CF2B0C}"/>
              </a:ext>
            </a:extLst>
          </p:cNvPr>
          <p:cNvSpPr/>
          <p:nvPr/>
        </p:nvSpPr>
        <p:spPr>
          <a:xfrm>
            <a:off x="257483" y="2332798"/>
            <a:ext cx="376966" cy="376966"/>
          </a:xfrm>
          <a:prstGeom prst="ellipse">
            <a:avLst/>
          </a:prstGeom>
          <a:solidFill>
            <a:srgbClr val="404040"/>
          </a:solidFill>
          <a:ln w="38100">
            <a:no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79"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FFFFFF"/>
                </a:solidFill>
                <a:effectLst/>
                <a:uLnTx/>
                <a:uFillTx/>
                <a:latin typeface="Tahoma"/>
                <a:ea typeface="+mn-ea"/>
                <a:cs typeface="+mn-cs"/>
              </a:rPr>
              <a:t>5</a:t>
            </a:r>
          </a:p>
        </p:txBody>
      </p:sp>
      <p:sp>
        <p:nvSpPr>
          <p:cNvPr id="30" name="Text Placeholder 2">
            <a:extLst>
              <a:ext uri="{FF2B5EF4-FFF2-40B4-BE49-F238E27FC236}">
                <a16:creationId xmlns:a16="http://schemas.microsoft.com/office/drawing/2014/main" id="{1F713AF2-F295-2648-8BA5-8B048E7A53C3}"/>
              </a:ext>
            </a:extLst>
          </p:cNvPr>
          <p:cNvSpPr txBox="1">
            <a:spLocks/>
          </p:cNvSpPr>
          <p:nvPr/>
        </p:nvSpPr>
        <p:spPr>
          <a:xfrm>
            <a:off x="729128" y="2858379"/>
            <a:ext cx="3512862" cy="2585323"/>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Kennenlernen und erzeugen von Geräuschen, Tönen, Klängen, Liedern     und Reimen</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Gemeinschaftsgefühl stärken</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Experimentieren und kennenlernen von Gestaltungsmaterial, Technik und Instrument</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Lernen Gefühle unterschiedlich ausdrücken zu können</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Phantasie und Vorstellungskraft einzusetzen und weiterzuentwickeln</a:t>
            </a:r>
          </a:p>
          <a:p>
            <a:pPr marL="285750" indent="-285750">
              <a:lnSpc>
                <a:spcPct val="100000"/>
              </a:lnSpc>
              <a:spcBef>
                <a:spcPts val="0"/>
              </a:spcBef>
              <a:buFont typeface="Arial" panose="020B0604020202020204" pitchFamily="34" charset="0"/>
              <a:buChar char="•"/>
              <a:defRPr/>
            </a:pPr>
            <a:endParaRPr lang="de-DE" sz="1400" dirty="0">
              <a:solidFill>
                <a:schemeClr val="tx1">
                  <a:lumMod val="65000"/>
                  <a:lumOff val="35000"/>
                </a:schemeClr>
              </a:solidFill>
              <a:latin typeface="Tahoma"/>
            </a:endParaRPr>
          </a:p>
        </p:txBody>
      </p:sp>
      <p:pic>
        <p:nvPicPr>
          <p:cNvPr id="14" name="Inhaltsplatzhalter 3">
            <a:extLst>
              <a:ext uri="{FF2B5EF4-FFF2-40B4-BE49-F238E27FC236}">
                <a16:creationId xmlns:a16="http://schemas.microsoft.com/office/drawing/2014/main" id="{564A16D3-BBA6-5147-B7B1-56DFF502CEA4}"/>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a:xfrm>
            <a:off x="5053804" y="2858379"/>
            <a:ext cx="3099296" cy="2324100"/>
          </a:xfrm>
          <a:prstGeom prst="rect">
            <a:avLst/>
          </a:prstGeom>
        </p:spPr>
      </p:pic>
      <p:pic>
        <p:nvPicPr>
          <p:cNvPr id="19" name="Picture 4" descr="musisch">
            <a:extLst>
              <a:ext uri="{FF2B5EF4-FFF2-40B4-BE49-F238E27FC236}">
                <a16:creationId xmlns:a16="http://schemas.microsoft.com/office/drawing/2014/main" id="{95B2A593-1C6A-C043-B72D-29DF162BB928}"/>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623247" y="2858379"/>
            <a:ext cx="3097213" cy="232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952020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descr="C:\Users\nolte\Documents\Schule\Kita\Neuer Ordner\IMG_5229.JPG">
            <a:extLst>
              <a:ext uri="{FF2B5EF4-FFF2-40B4-BE49-F238E27FC236}">
                <a16:creationId xmlns:a16="http://schemas.microsoft.com/office/drawing/2014/main" id="{9A934B51-16BB-334E-A24D-71D4CFB9AEB9}"/>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a:xfrm>
            <a:off x="5068585" y="3096850"/>
            <a:ext cx="3097955" cy="2324100"/>
          </a:xfrm>
          <a:prstGeom prst="rect">
            <a:avLst/>
          </a:prstGeom>
        </p:spPr>
      </p:pic>
      <p:pic>
        <p:nvPicPr>
          <p:cNvPr id="25" name="Grafik 24" descr="Ein Bild, das Text, Tisch, drinnen, Schreibgerät enthält.&#10;&#10;Automatisch generierte Beschreibung">
            <a:extLst>
              <a:ext uri="{FF2B5EF4-FFF2-40B4-BE49-F238E27FC236}">
                <a16:creationId xmlns:a16="http://schemas.microsoft.com/office/drawing/2014/main" id="{09AED58D-3272-F749-83A9-91AA2AE7804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195"/>
          <a:stretch/>
        </p:blipFill>
        <p:spPr>
          <a:xfrm>
            <a:off x="-23925" y="566696"/>
            <a:ext cx="12239849" cy="1430278"/>
          </a:xfrm>
          <a:prstGeom prst="rect">
            <a:avLst/>
          </a:prstGeom>
        </p:spPr>
      </p:pic>
      <p:sp>
        <p:nvSpPr>
          <p:cNvPr id="5" name="Rectangle 21">
            <a:extLst>
              <a:ext uri="{FF2B5EF4-FFF2-40B4-BE49-F238E27FC236}">
                <a16:creationId xmlns:a16="http://schemas.microsoft.com/office/drawing/2014/main" id="{95CE66D6-3CEF-7B4E-910B-BDC92F9B8101}"/>
              </a:ext>
            </a:extLst>
          </p:cNvPr>
          <p:cNvSpPr/>
          <p:nvPr/>
        </p:nvSpPr>
        <p:spPr bwMode="auto">
          <a:xfrm>
            <a:off x="-23925" y="555284"/>
            <a:ext cx="12239849" cy="1452196"/>
          </a:xfrm>
          <a:prstGeom prst="rect">
            <a:avLst/>
          </a:prstGeom>
          <a:solidFill>
            <a:schemeClr val="tx2">
              <a:lumMod val="75000"/>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7" name="TextBox 6">
            <a:extLst>
              <a:ext uri="{FF2B5EF4-FFF2-40B4-BE49-F238E27FC236}">
                <a16:creationId xmlns:a16="http://schemas.microsoft.com/office/drawing/2014/main" id="{CF6AB2DF-74BF-8748-87D8-FCFDA75C68B5}"/>
              </a:ext>
            </a:extLst>
          </p:cNvPr>
          <p:cNvSpPr txBox="1"/>
          <p:nvPr/>
        </p:nvSpPr>
        <p:spPr>
          <a:xfrm>
            <a:off x="1077166" y="948262"/>
            <a:ext cx="3422412" cy="369332"/>
          </a:xfrm>
          <a:prstGeom prst="rect">
            <a:avLst/>
          </a:prstGeom>
          <a:noFill/>
        </p:spPr>
        <p:txBody>
          <a:bodyPr wrap="none" lIns="0" tIns="0" rIns="0" bIns="0" rtlCol="0">
            <a:spAutoFit/>
          </a:bodyPr>
          <a:lstStyle/>
          <a:p>
            <a:pPr marL="0" marR="0" lvl="0" indent="0" algn="l" defTabSz="914079"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300" normalizeH="0" baseline="0" noProof="0" dirty="0">
                <a:ln>
                  <a:noFill/>
                </a:ln>
                <a:solidFill>
                  <a:srgbClr val="FFFFFF"/>
                </a:solidFill>
                <a:effectLst/>
                <a:uLnTx/>
                <a:uFillTx/>
                <a:latin typeface="Tahoma"/>
                <a:ea typeface="+mn-ea"/>
                <a:cs typeface="+mn-cs"/>
              </a:rPr>
              <a:t>Bildungsbereich 5</a:t>
            </a:r>
          </a:p>
        </p:txBody>
      </p:sp>
      <p:sp>
        <p:nvSpPr>
          <p:cNvPr id="16" name="TextBox 7">
            <a:extLst>
              <a:ext uri="{FF2B5EF4-FFF2-40B4-BE49-F238E27FC236}">
                <a16:creationId xmlns:a16="http://schemas.microsoft.com/office/drawing/2014/main" id="{21E41DE7-6C40-2048-9CAA-377D11F356EA}"/>
              </a:ext>
            </a:extLst>
          </p:cNvPr>
          <p:cNvSpPr txBox="1"/>
          <p:nvPr/>
        </p:nvSpPr>
        <p:spPr>
          <a:xfrm>
            <a:off x="1077166" y="1494956"/>
            <a:ext cx="4805418" cy="246221"/>
          </a:xfrm>
          <a:prstGeom prst="rect">
            <a:avLst/>
          </a:prstGeom>
          <a:noFill/>
        </p:spPr>
        <p:txBody>
          <a:bodyPr wrap="none" lIns="0" tIns="0" rIns="0" bIns="0" rtlCol="0">
            <a:spAutoFit/>
          </a:bodyPr>
          <a:lstStyle/>
          <a:p>
            <a:pPr lvl="0" defTabSz="914079">
              <a:defRPr/>
            </a:pPr>
            <a:r>
              <a:rPr lang="de-DE" sz="1600" spc="300" dirty="0">
                <a:solidFill>
                  <a:srgbClr val="FFFFFF"/>
                </a:solidFill>
                <a:latin typeface="Tahoma"/>
              </a:rPr>
              <a:t>Musisch-ästhetische Bildung - </a:t>
            </a:r>
            <a:r>
              <a:rPr lang="de-DE" sz="1600" b="1" spc="300" dirty="0">
                <a:solidFill>
                  <a:srgbClr val="FFFFFF"/>
                </a:solidFill>
                <a:latin typeface="Tahoma"/>
              </a:rPr>
              <a:t>Schule</a:t>
            </a:r>
            <a:endParaRPr kumimoji="0" lang="de-DE" sz="1600" b="1" i="0" u="none" strike="noStrike" kern="1200" cap="none" spc="300" normalizeH="0" baseline="0" noProof="0" dirty="0">
              <a:ln>
                <a:noFill/>
              </a:ln>
              <a:solidFill>
                <a:srgbClr val="FFFFFF"/>
              </a:solidFill>
              <a:effectLst/>
              <a:uLnTx/>
              <a:uFillTx/>
              <a:latin typeface="Tahoma"/>
              <a:ea typeface="+mn-ea"/>
              <a:cs typeface="+mn-cs"/>
            </a:endParaRPr>
          </a:p>
        </p:txBody>
      </p:sp>
      <p:cxnSp>
        <p:nvCxnSpPr>
          <p:cNvPr id="9" name="Straight Connector 8">
            <a:extLst>
              <a:ext uri="{FF2B5EF4-FFF2-40B4-BE49-F238E27FC236}">
                <a16:creationId xmlns:a16="http://schemas.microsoft.com/office/drawing/2014/main" id="{1AAB9A71-ADAA-0949-B752-37BC01FB2424}"/>
              </a:ext>
            </a:extLst>
          </p:cNvPr>
          <p:cNvCxnSpPr>
            <a:cxnSpLocks/>
          </p:cNvCxnSpPr>
          <p:nvPr/>
        </p:nvCxnSpPr>
        <p:spPr>
          <a:xfrm>
            <a:off x="1077166" y="1365360"/>
            <a:ext cx="94598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uppieren 1">
            <a:extLst>
              <a:ext uri="{FF2B5EF4-FFF2-40B4-BE49-F238E27FC236}">
                <a16:creationId xmlns:a16="http://schemas.microsoft.com/office/drawing/2014/main" id="{8D0A7093-88BB-0142-AB84-32E51BF35459}"/>
              </a:ext>
            </a:extLst>
          </p:cNvPr>
          <p:cNvGrpSpPr/>
          <p:nvPr/>
        </p:nvGrpSpPr>
        <p:grpSpPr>
          <a:xfrm>
            <a:off x="257483" y="3194710"/>
            <a:ext cx="4242095" cy="1815439"/>
            <a:chOff x="257483" y="2332798"/>
            <a:chExt cx="4242095" cy="1815439"/>
          </a:xfrm>
        </p:grpSpPr>
        <p:sp>
          <p:nvSpPr>
            <p:cNvPr id="15" name="Rechteck 5">
              <a:extLst>
                <a:ext uri="{FF2B5EF4-FFF2-40B4-BE49-F238E27FC236}">
                  <a16:creationId xmlns:a16="http://schemas.microsoft.com/office/drawing/2014/main" id="{9DC30DCA-9931-9846-A3A8-850DC44B0600}"/>
                </a:ext>
              </a:extLst>
            </p:cNvPr>
            <p:cNvSpPr/>
            <p:nvPr/>
          </p:nvSpPr>
          <p:spPr bwMode="auto">
            <a:xfrm>
              <a:off x="471540" y="2489168"/>
              <a:ext cx="4028038" cy="1659069"/>
            </a:xfrm>
            <a:prstGeom prst="rect">
              <a:avLst/>
            </a:prstGeom>
            <a:solidFill>
              <a:schemeClr val="bg1"/>
            </a:solid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104372" tIns="52502" rIns="102634" bIns="52502" numCol="1" rtlCol="0" anchor="ctr" anchorCtr="0" compatLnSpc="1">
              <a:prstTxWarp prst="textNoShape">
                <a:avLst/>
              </a:prstTxWarp>
            </a:bodyPr>
            <a:lstStyle/>
            <a:p>
              <a:pPr marL="0" marR="0" lvl="0" indent="0" algn="ctr" defTabSz="995065" rtl="0" eaLnBrk="1" fontAlgn="base" latinLnBrk="0" hangingPunct="1">
                <a:lnSpc>
                  <a:spcPct val="100000"/>
                </a:lnSpc>
                <a:spcBef>
                  <a:spcPct val="0"/>
                </a:spcBef>
                <a:spcAft>
                  <a:spcPct val="0"/>
                </a:spcAft>
                <a:buClr>
                  <a:srgbClr val="FF8000"/>
                </a:buClr>
                <a:buSzPct val="75000"/>
                <a:buFontTx/>
                <a:buNone/>
                <a:tabLst/>
                <a:defRPr/>
              </a:pPr>
              <a:endParaRPr kumimoji="0" lang="de-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17" name="TextBox 187">
              <a:extLst>
                <a:ext uri="{FF2B5EF4-FFF2-40B4-BE49-F238E27FC236}">
                  <a16:creationId xmlns:a16="http://schemas.microsoft.com/office/drawing/2014/main" id="{96666B1E-58E2-D243-8427-815D34C3549F}"/>
                </a:ext>
              </a:extLst>
            </p:cNvPr>
            <p:cNvSpPr txBox="1"/>
            <p:nvPr/>
          </p:nvSpPr>
          <p:spPr>
            <a:xfrm>
              <a:off x="796378" y="2398721"/>
              <a:ext cx="1253348" cy="215444"/>
            </a:xfrm>
            <a:prstGeom prst="rect">
              <a:avLst/>
            </a:prstGeom>
            <a:solidFill>
              <a:schemeClr val="bg1"/>
            </a:solidFill>
          </p:spPr>
          <p:txBody>
            <a:bodyPr wrap="square" lIns="0" tIns="0" rIns="0" bIns="0" rtlCol="0">
              <a:spAutoFit/>
            </a:bodyPr>
            <a:lstStyle/>
            <a:p>
              <a:pPr algn="ctr" defTabSz="914079">
                <a:defRPr/>
              </a:pPr>
              <a:r>
                <a:rPr lang="de-DE" sz="1400" b="1" dirty="0">
                  <a:solidFill>
                    <a:srgbClr val="404040"/>
                  </a:solidFill>
                  <a:latin typeface="Tahoma"/>
                </a:rPr>
                <a:t>Wichtig:</a:t>
              </a:r>
            </a:p>
          </p:txBody>
        </p:sp>
        <p:sp>
          <p:nvSpPr>
            <p:cNvPr id="18" name="Oval 8">
              <a:extLst>
                <a:ext uri="{FF2B5EF4-FFF2-40B4-BE49-F238E27FC236}">
                  <a16:creationId xmlns:a16="http://schemas.microsoft.com/office/drawing/2014/main" id="{93162B3C-38D9-0E42-A025-8E7349CF2B0C}"/>
                </a:ext>
              </a:extLst>
            </p:cNvPr>
            <p:cNvSpPr/>
            <p:nvPr/>
          </p:nvSpPr>
          <p:spPr>
            <a:xfrm>
              <a:off x="257483" y="2332798"/>
              <a:ext cx="376966" cy="376966"/>
            </a:xfrm>
            <a:prstGeom prst="ellipse">
              <a:avLst/>
            </a:prstGeom>
            <a:solidFill>
              <a:srgbClr val="404040"/>
            </a:solidFill>
            <a:ln w="38100">
              <a:no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79"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FFFFFF"/>
                  </a:solidFill>
                  <a:effectLst/>
                  <a:uLnTx/>
                  <a:uFillTx/>
                  <a:latin typeface="Tahoma"/>
                  <a:ea typeface="+mn-ea"/>
                  <a:cs typeface="+mn-cs"/>
                </a:rPr>
                <a:t>5</a:t>
              </a:r>
            </a:p>
          </p:txBody>
        </p:sp>
        <p:sp>
          <p:nvSpPr>
            <p:cNvPr id="30" name="Text Placeholder 2">
              <a:extLst>
                <a:ext uri="{FF2B5EF4-FFF2-40B4-BE49-F238E27FC236}">
                  <a16:creationId xmlns:a16="http://schemas.microsoft.com/office/drawing/2014/main" id="{1F713AF2-F295-2648-8BA5-8B048E7A53C3}"/>
                </a:ext>
              </a:extLst>
            </p:cNvPr>
            <p:cNvSpPr txBox="1">
              <a:spLocks/>
            </p:cNvSpPr>
            <p:nvPr/>
          </p:nvSpPr>
          <p:spPr>
            <a:xfrm>
              <a:off x="729128" y="2858379"/>
              <a:ext cx="3512862" cy="107721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defRPr/>
              </a:pPr>
              <a:r>
                <a:rPr lang="de-DE" sz="1400" dirty="0">
                  <a:solidFill>
                    <a:schemeClr val="tx1">
                      <a:lumMod val="65000"/>
                      <a:lumOff val="35000"/>
                    </a:schemeClr>
                  </a:solidFill>
                  <a:latin typeface="Tahoma"/>
                </a:rPr>
                <a:t>Musikunterricht soll Spaß machen. Außerdem gibt es noch Projektwochen – hier zum Thema „Trommelzauber“ oder auch gemeinsames Singen auf dem Schulhof.</a:t>
              </a:r>
            </a:p>
            <a:p>
              <a:pPr marL="285750" indent="-285750">
                <a:lnSpc>
                  <a:spcPct val="100000"/>
                </a:lnSpc>
                <a:spcBef>
                  <a:spcPts val="0"/>
                </a:spcBef>
                <a:buFont typeface="Arial" panose="020B0604020202020204" pitchFamily="34" charset="0"/>
                <a:buChar char="•"/>
                <a:defRPr/>
              </a:pPr>
              <a:endParaRPr lang="de-DE" sz="1400" dirty="0">
                <a:solidFill>
                  <a:schemeClr val="tx1">
                    <a:lumMod val="65000"/>
                    <a:lumOff val="35000"/>
                  </a:schemeClr>
                </a:solidFill>
                <a:latin typeface="Tahoma"/>
              </a:endParaRPr>
            </a:p>
          </p:txBody>
        </p:sp>
      </p:grpSp>
      <p:pic>
        <p:nvPicPr>
          <p:cNvPr id="20" name="Picture 4" descr="C:\Users\nolte\Documents\Schule\Kita\Neuer Ordner\Kulturelle Bildung.JPG">
            <a:extLst>
              <a:ext uri="{FF2B5EF4-FFF2-40B4-BE49-F238E27FC236}">
                <a16:creationId xmlns:a16="http://schemas.microsoft.com/office/drawing/2014/main" id="{7E3705AC-AD8C-3245-989A-60F840AE35C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735547" y="2328962"/>
            <a:ext cx="2727325" cy="363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075352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descr="Ein Bild, das Text, Tisch, drinnen, Schreibgerät enthält.&#10;&#10;Automatisch generierte Beschreibung">
            <a:extLst>
              <a:ext uri="{FF2B5EF4-FFF2-40B4-BE49-F238E27FC236}">
                <a16:creationId xmlns:a16="http://schemas.microsoft.com/office/drawing/2014/main" id="{09AED58D-3272-F749-83A9-91AA2AE7804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95"/>
          <a:stretch/>
        </p:blipFill>
        <p:spPr>
          <a:xfrm>
            <a:off x="-23925" y="566696"/>
            <a:ext cx="12239849" cy="1430278"/>
          </a:xfrm>
          <a:prstGeom prst="rect">
            <a:avLst/>
          </a:prstGeom>
        </p:spPr>
      </p:pic>
      <p:sp>
        <p:nvSpPr>
          <p:cNvPr id="5" name="Rectangle 21">
            <a:extLst>
              <a:ext uri="{FF2B5EF4-FFF2-40B4-BE49-F238E27FC236}">
                <a16:creationId xmlns:a16="http://schemas.microsoft.com/office/drawing/2014/main" id="{95CE66D6-3CEF-7B4E-910B-BDC92F9B8101}"/>
              </a:ext>
            </a:extLst>
          </p:cNvPr>
          <p:cNvSpPr/>
          <p:nvPr/>
        </p:nvSpPr>
        <p:spPr bwMode="auto">
          <a:xfrm>
            <a:off x="-23925" y="555284"/>
            <a:ext cx="12239849" cy="1452196"/>
          </a:xfrm>
          <a:prstGeom prst="rect">
            <a:avLst/>
          </a:prstGeom>
          <a:solidFill>
            <a:schemeClr val="accent1">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7" name="TextBox 6">
            <a:extLst>
              <a:ext uri="{FF2B5EF4-FFF2-40B4-BE49-F238E27FC236}">
                <a16:creationId xmlns:a16="http://schemas.microsoft.com/office/drawing/2014/main" id="{CF6AB2DF-74BF-8748-87D8-FCFDA75C68B5}"/>
              </a:ext>
            </a:extLst>
          </p:cNvPr>
          <p:cNvSpPr txBox="1"/>
          <p:nvPr/>
        </p:nvSpPr>
        <p:spPr>
          <a:xfrm>
            <a:off x="1077166" y="948262"/>
            <a:ext cx="3422412" cy="369332"/>
          </a:xfrm>
          <a:prstGeom prst="rect">
            <a:avLst/>
          </a:prstGeom>
          <a:noFill/>
        </p:spPr>
        <p:txBody>
          <a:bodyPr wrap="none" lIns="0" tIns="0" rIns="0" bIns="0" rtlCol="0">
            <a:spAutoFit/>
          </a:bodyPr>
          <a:lstStyle/>
          <a:p>
            <a:pPr marL="0" marR="0" lvl="0" indent="0" algn="l" defTabSz="914079"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300" normalizeH="0" baseline="0" noProof="0" dirty="0">
                <a:ln>
                  <a:noFill/>
                </a:ln>
                <a:solidFill>
                  <a:srgbClr val="FFFFFF"/>
                </a:solidFill>
                <a:effectLst/>
                <a:uLnTx/>
                <a:uFillTx/>
                <a:latin typeface="Tahoma"/>
                <a:ea typeface="+mn-ea"/>
                <a:cs typeface="+mn-cs"/>
              </a:rPr>
              <a:t>Bildungsbereich 6</a:t>
            </a:r>
          </a:p>
        </p:txBody>
      </p:sp>
      <p:sp>
        <p:nvSpPr>
          <p:cNvPr id="16" name="TextBox 7">
            <a:extLst>
              <a:ext uri="{FF2B5EF4-FFF2-40B4-BE49-F238E27FC236}">
                <a16:creationId xmlns:a16="http://schemas.microsoft.com/office/drawing/2014/main" id="{21E41DE7-6C40-2048-9CAA-377D11F356EA}"/>
              </a:ext>
            </a:extLst>
          </p:cNvPr>
          <p:cNvSpPr txBox="1"/>
          <p:nvPr/>
        </p:nvSpPr>
        <p:spPr>
          <a:xfrm>
            <a:off x="1077166" y="1494956"/>
            <a:ext cx="3205686" cy="246221"/>
          </a:xfrm>
          <a:prstGeom prst="rect">
            <a:avLst/>
          </a:prstGeom>
          <a:noFill/>
        </p:spPr>
        <p:txBody>
          <a:bodyPr wrap="none" lIns="0" tIns="0" rIns="0" bIns="0" rtlCol="0">
            <a:spAutoFit/>
          </a:bodyPr>
          <a:lstStyle/>
          <a:p>
            <a:pPr defTabSz="914079">
              <a:defRPr/>
            </a:pPr>
            <a:r>
              <a:rPr lang="de-DE" sz="1600" spc="300" dirty="0">
                <a:solidFill>
                  <a:srgbClr val="FFFFFF"/>
                </a:solidFill>
                <a:latin typeface="Tahoma"/>
              </a:rPr>
              <a:t>Religion und Ethik - </a:t>
            </a:r>
            <a:r>
              <a:rPr lang="de-DE" sz="1600" b="1" spc="300" dirty="0">
                <a:solidFill>
                  <a:srgbClr val="FFFFFF"/>
                </a:solidFill>
                <a:latin typeface="Tahoma"/>
              </a:rPr>
              <a:t>Kita</a:t>
            </a:r>
            <a:endParaRPr kumimoji="0" lang="de-DE" sz="1600" b="1" i="0" u="none" strike="noStrike" kern="1200" cap="none" spc="300" normalizeH="0" baseline="0" noProof="0" dirty="0">
              <a:ln>
                <a:noFill/>
              </a:ln>
              <a:solidFill>
                <a:srgbClr val="FFFFFF"/>
              </a:solidFill>
              <a:effectLst/>
              <a:uLnTx/>
              <a:uFillTx/>
              <a:latin typeface="Tahoma"/>
              <a:ea typeface="+mn-ea"/>
              <a:cs typeface="+mn-cs"/>
            </a:endParaRPr>
          </a:p>
        </p:txBody>
      </p:sp>
      <p:cxnSp>
        <p:nvCxnSpPr>
          <p:cNvPr id="9" name="Straight Connector 8">
            <a:extLst>
              <a:ext uri="{FF2B5EF4-FFF2-40B4-BE49-F238E27FC236}">
                <a16:creationId xmlns:a16="http://schemas.microsoft.com/office/drawing/2014/main" id="{1AAB9A71-ADAA-0949-B752-37BC01FB2424}"/>
              </a:ext>
            </a:extLst>
          </p:cNvPr>
          <p:cNvCxnSpPr>
            <a:cxnSpLocks/>
          </p:cNvCxnSpPr>
          <p:nvPr/>
        </p:nvCxnSpPr>
        <p:spPr>
          <a:xfrm>
            <a:off x="1077166" y="1365360"/>
            <a:ext cx="94598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hteck 5">
            <a:extLst>
              <a:ext uri="{FF2B5EF4-FFF2-40B4-BE49-F238E27FC236}">
                <a16:creationId xmlns:a16="http://schemas.microsoft.com/office/drawing/2014/main" id="{9DC30DCA-9931-9846-A3A8-850DC44B0600}"/>
              </a:ext>
            </a:extLst>
          </p:cNvPr>
          <p:cNvSpPr/>
          <p:nvPr/>
        </p:nvSpPr>
        <p:spPr bwMode="auto">
          <a:xfrm>
            <a:off x="471540" y="2489168"/>
            <a:ext cx="4028038" cy="3312541"/>
          </a:xfrm>
          <a:prstGeom prst="rect">
            <a:avLst/>
          </a:prstGeom>
          <a:solidFill>
            <a:schemeClr val="bg1"/>
          </a:solid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104372" tIns="52502" rIns="102634" bIns="52502" numCol="1" rtlCol="0" anchor="ctr" anchorCtr="0" compatLnSpc="1">
            <a:prstTxWarp prst="textNoShape">
              <a:avLst/>
            </a:prstTxWarp>
          </a:bodyPr>
          <a:lstStyle/>
          <a:p>
            <a:pPr marL="0" marR="0" lvl="0" indent="0" algn="ctr" defTabSz="995065" rtl="0" eaLnBrk="1" fontAlgn="base" latinLnBrk="0" hangingPunct="1">
              <a:lnSpc>
                <a:spcPct val="100000"/>
              </a:lnSpc>
              <a:spcBef>
                <a:spcPct val="0"/>
              </a:spcBef>
              <a:spcAft>
                <a:spcPct val="0"/>
              </a:spcAft>
              <a:buClr>
                <a:srgbClr val="FF8000"/>
              </a:buClr>
              <a:buSzPct val="75000"/>
              <a:buFontTx/>
              <a:buNone/>
              <a:tabLst/>
              <a:defRPr/>
            </a:pPr>
            <a:endParaRPr kumimoji="0" lang="de-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17" name="TextBox 187">
            <a:extLst>
              <a:ext uri="{FF2B5EF4-FFF2-40B4-BE49-F238E27FC236}">
                <a16:creationId xmlns:a16="http://schemas.microsoft.com/office/drawing/2014/main" id="{96666B1E-58E2-D243-8427-815D34C3549F}"/>
              </a:ext>
            </a:extLst>
          </p:cNvPr>
          <p:cNvSpPr txBox="1"/>
          <p:nvPr/>
        </p:nvSpPr>
        <p:spPr>
          <a:xfrm>
            <a:off x="796378" y="2398721"/>
            <a:ext cx="1253348" cy="215444"/>
          </a:xfrm>
          <a:prstGeom prst="rect">
            <a:avLst/>
          </a:prstGeom>
          <a:solidFill>
            <a:schemeClr val="bg1"/>
          </a:solidFill>
        </p:spPr>
        <p:txBody>
          <a:bodyPr wrap="square" lIns="0" tIns="0" rIns="0" bIns="0" rtlCol="0">
            <a:spAutoFit/>
          </a:bodyPr>
          <a:lstStyle/>
          <a:p>
            <a:pPr algn="ctr" defTabSz="914079">
              <a:defRPr/>
            </a:pPr>
            <a:r>
              <a:rPr lang="de-DE" sz="1400" b="1" dirty="0">
                <a:solidFill>
                  <a:srgbClr val="404040"/>
                </a:solidFill>
                <a:latin typeface="Tahoma"/>
              </a:rPr>
              <a:t>Beispiele:</a:t>
            </a:r>
          </a:p>
        </p:txBody>
      </p:sp>
      <p:sp>
        <p:nvSpPr>
          <p:cNvPr id="18" name="Oval 8">
            <a:extLst>
              <a:ext uri="{FF2B5EF4-FFF2-40B4-BE49-F238E27FC236}">
                <a16:creationId xmlns:a16="http://schemas.microsoft.com/office/drawing/2014/main" id="{93162B3C-38D9-0E42-A025-8E7349CF2B0C}"/>
              </a:ext>
            </a:extLst>
          </p:cNvPr>
          <p:cNvSpPr/>
          <p:nvPr/>
        </p:nvSpPr>
        <p:spPr>
          <a:xfrm>
            <a:off x="257483" y="2332798"/>
            <a:ext cx="376966" cy="376966"/>
          </a:xfrm>
          <a:prstGeom prst="ellipse">
            <a:avLst/>
          </a:prstGeom>
          <a:solidFill>
            <a:srgbClr val="404040"/>
          </a:solidFill>
          <a:ln w="38100">
            <a:no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79" rtl="0" eaLnBrk="1" fontAlgn="auto" latinLnBrk="0" hangingPunct="1">
              <a:lnSpc>
                <a:spcPct val="100000"/>
              </a:lnSpc>
              <a:spcBef>
                <a:spcPts val="0"/>
              </a:spcBef>
              <a:spcAft>
                <a:spcPts val="0"/>
              </a:spcAft>
              <a:buClrTx/>
              <a:buSzTx/>
              <a:buFontTx/>
              <a:buNone/>
              <a:tabLst/>
              <a:defRPr/>
            </a:pPr>
            <a:r>
              <a:rPr lang="de-DE" sz="1600" b="1" dirty="0">
                <a:solidFill>
                  <a:srgbClr val="FFFFFF"/>
                </a:solidFill>
                <a:latin typeface="Tahoma"/>
              </a:rPr>
              <a:t>6</a:t>
            </a:r>
            <a:endParaRPr kumimoji="0" lang="de-DE" sz="1600" b="1"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Text Placeholder 2">
            <a:extLst>
              <a:ext uri="{FF2B5EF4-FFF2-40B4-BE49-F238E27FC236}">
                <a16:creationId xmlns:a16="http://schemas.microsoft.com/office/drawing/2014/main" id="{1F713AF2-F295-2648-8BA5-8B048E7A53C3}"/>
              </a:ext>
            </a:extLst>
          </p:cNvPr>
          <p:cNvSpPr txBox="1">
            <a:spLocks/>
          </p:cNvSpPr>
          <p:nvPr/>
        </p:nvSpPr>
        <p:spPr>
          <a:xfrm>
            <a:off x="729128" y="2759590"/>
            <a:ext cx="3512862" cy="280076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Kennenlernen und erzeugen von Kinder erfahren unterschiedliche Formen von Weltanschauung, Glaube und Religion                                                                                                                                              </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Nehmen ihre multikulturelle und multireligiöse Lebenswelt wahr und erleben diese                                                                                                                                                  </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Sie entwickeln eine gewisse Sensibilität für religiöse Wahrnehmungen (z.B. Staunen über Dinge und Lebewesen in der Natur, wundern über geheimnisvolle Ereignisse)                                                                                                                             </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Kinder lernen </a:t>
            </a:r>
            <a:r>
              <a:rPr lang="de-DE" sz="1400" dirty="0" err="1">
                <a:solidFill>
                  <a:schemeClr val="tx1">
                    <a:lumMod val="65000"/>
                    <a:lumOff val="35000"/>
                  </a:schemeClr>
                </a:solidFill>
                <a:latin typeface="Tahoma"/>
              </a:rPr>
              <a:t>Werterhaltungen</a:t>
            </a:r>
            <a:r>
              <a:rPr lang="de-DE" sz="1400" dirty="0">
                <a:solidFill>
                  <a:schemeClr val="tx1">
                    <a:lumMod val="65000"/>
                    <a:lumOff val="35000"/>
                  </a:schemeClr>
                </a:solidFill>
                <a:latin typeface="Tahoma"/>
              </a:rPr>
              <a:t> kennen und finden eigenen Standpunkte…</a:t>
            </a:r>
          </a:p>
        </p:txBody>
      </p:sp>
      <p:pic>
        <p:nvPicPr>
          <p:cNvPr id="13" name="Grafik 2" descr="K:\august-dezember handy\IMG_2592.JPG">
            <a:extLst>
              <a:ext uri="{FF2B5EF4-FFF2-40B4-BE49-F238E27FC236}">
                <a16:creationId xmlns:a16="http://schemas.microsoft.com/office/drawing/2014/main" id="{0E5C33EF-76AE-7641-88CE-3CCF6E24FBB2}"/>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a:xfrm>
            <a:off x="5538931" y="2557058"/>
            <a:ext cx="2411781" cy="3219000"/>
          </a:xfrm>
          <a:prstGeom prst="rect">
            <a:avLst/>
          </a:prstGeom>
        </p:spPr>
      </p:pic>
      <p:pic>
        <p:nvPicPr>
          <p:cNvPr id="20" name="Grafik 3" descr="K:\august-dezember handy\IMG_2666.JPG">
            <a:extLst>
              <a:ext uri="{FF2B5EF4-FFF2-40B4-BE49-F238E27FC236}">
                <a16:creationId xmlns:a16="http://schemas.microsoft.com/office/drawing/2014/main" id="{36CA034D-A791-184D-B64F-3399B8CCF54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844503" y="2160048"/>
            <a:ext cx="2659899" cy="199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Grafik 1" descr="C:\Dokumente und Einstellungen\Schulz-Drews\Eigene Dateien\Eigene Bilder\2012diversesWaldGottesdienst\IMG_0091.jpg">
            <a:extLst>
              <a:ext uri="{FF2B5EF4-FFF2-40B4-BE49-F238E27FC236}">
                <a16:creationId xmlns:a16="http://schemas.microsoft.com/office/drawing/2014/main" id="{811C1913-2E08-F049-8F34-A0892628C151}"/>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846011" y="4272067"/>
            <a:ext cx="2666567" cy="199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380456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descr="Ein Bild, das Text, Tisch, drinnen, Schreibgerät enthält.&#10;&#10;Automatisch generierte Beschreibung">
            <a:extLst>
              <a:ext uri="{FF2B5EF4-FFF2-40B4-BE49-F238E27FC236}">
                <a16:creationId xmlns:a16="http://schemas.microsoft.com/office/drawing/2014/main" id="{09AED58D-3272-F749-83A9-91AA2AE7804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95"/>
          <a:stretch/>
        </p:blipFill>
        <p:spPr>
          <a:xfrm>
            <a:off x="-23925" y="566696"/>
            <a:ext cx="12239849" cy="1430278"/>
          </a:xfrm>
          <a:prstGeom prst="rect">
            <a:avLst/>
          </a:prstGeom>
        </p:spPr>
      </p:pic>
      <p:sp>
        <p:nvSpPr>
          <p:cNvPr id="5" name="Rectangle 21">
            <a:extLst>
              <a:ext uri="{FF2B5EF4-FFF2-40B4-BE49-F238E27FC236}">
                <a16:creationId xmlns:a16="http://schemas.microsoft.com/office/drawing/2014/main" id="{95CE66D6-3CEF-7B4E-910B-BDC92F9B8101}"/>
              </a:ext>
            </a:extLst>
          </p:cNvPr>
          <p:cNvSpPr/>
          <p:nvPr/>
        </p:nvSpPr>
        <p:spPr bwMode="auto">
          <a:xfrm>
            <a:off x="-23925" y="555284"/>
            <a:ext cx="12239849" cy="1452196"/>
          </a:xfrm>
          <a:prstGeom prst="rect">
            <a:avLst/>
          </a:prstGeom>
          <a:solidFill>
            <a:schemeClr val="tx2">
              <a:lumMod val="75000"/>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7" name="TextBox 6">
            <a:extLst>
              <a:ext uri="{FF2B5EF4-FFF2-40B4-BE49-F238E27FC236}">
                <a16:creationId xmlns:a16="http://schemas.microsoft.com/office/drawing/2014/main" id="{CF6AB2DF-74BF-8748-87D8-FCFDA75C68B5}"/>
              </a:ext>
            </a:extLst>
          </p:cNvPr>
          <p:cNvSpPr txBox="1"/>
          <p:nvPr/>
        </p:nvSpPr>
        <p:spPr>
          <a:xfrm>
            <a:off x="1077166" y="948262"/>
            <a:ext cx="3422412" cy="369332"/>
          </a:xfrm>
          <a:prstGeom prst="rect">
            <a:avLst/>
          </a:prstGeom>
          <a:noFill/>
        </p:spPr>
        <p:txBody>
          <a:bodyPr wrap="none" lIns="0" tIns="0" rIns="0" bIns="0" rtlCol="0">
            <a:spAutoFit/>
          </a:bodyPr>
          <a:lstStyle/>
          <a:p>
            <a:pPr marL="0" marR="0" lvl="0" indent="0" algn="l" defTabSz="914079"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300" normalizeH="0" baseline="0" noProof="0" dirty="0">
                <a:ln>
                  <a:noFill/>
                </a:ln>
                <a:solidFill>
                  <a:srgbClr val="FFFFFF"/>
                </a:solidFill>
                <a:effectLst/>
                <a:uLnTx/>
                <a:uFillTx/>
                <a:latin typeface="Tahoma"/>
                <a:ea typeface="+mn-ea"/>
                <a:cs typeface="+mn-cs"/>
              </a:rPr>
              <a:t>Bildungsbereich 6</a:t>
            </a:r>
          </a:p>
        </p:txBody>
      </p:sp>
      <p:sp>
        <p:nvSpPr>
          <p:cNvPr id="16" name="TextBox 7">
            <a:extLst>
              <a:ext uri="{FF2B5EF4-FFF2-40B4-BE49-F238E27FC236}">
                <a16:creationId xmlns:a16="http://schemas.microsoft.com/office/drawing/2014/main" id="{21E41DE7-6C40-2048-9CAA-377D11F356EA}"/>
              </a:ext>
            </a:extLst>
          </p:cNvPr>
          <p:cNvSpPr txBox="1"/>
          <p:nvPr/>
        </p:nvSpPr>
        <p:spPr>
          <a:xfrm>
            <a:off x="1077166" y="1494956"/>
            <a:ext cx="3555140" cy="246221"/>
          </a:xfrm>
          <a:prstGeom prst="rect">
            <a:avLst/>
          </a:prstGeom>
          <a:noFill/>
        </p:spPr>
        <p:txBody>
          <a:bodyPr wrap="none" lIns="0" tIns="0" rIns="0" bIns="0" rtlCol="0">
            <a:spAutoFit/>
          </a:bodyPr>
          <a:lstStyle/>
          <a:p>
            <a:pPr defTabSz="914079">
              <a:defRPr/>
            </a:pPr>
            <a:r>
              <a:rPr lang="de-DE" sz="1600" spc="300" dirty="0">
                <a:solidFill>
                  <a:srgbClr val="FFFFFF"/>
                </a:solidFill>
                <a:latin typeface="Tahoma"/>
              </a:rPr>
              <a:t>Religion und Ethik - </a:t>
            </a:r>
            <a:r>
              <a:rPr lang="de-DE" sz="1600" b="1" spc="300" dirty="0">
                <a:solidFill>
                  <a:srgbClr val="FFFFFF"/>
                </a:solidFill>
                <a:latin typeface="Tahoma"/>
              </a:rPr>
              <a:t>Schule</a:t>
            </a:r>
            <a:endParaRPr kumimoji="0" lang="de-DE" sz="1600" b="1" i="0" u="none" strike="noStrike" kern="1200" cap="none" spc="300" normalizeH="0" baseline="0" noProof="0" dirty="0">
              <a:ln>
                <a:noFill/>
              </a:ln>
              <a:solidFill>
                <a:srgbClr val="FFFFFF"/>
              </a:solidFill>
              <a:effectLst/>
              <a:uLnTx/>
              <a:uFillTx/>
              <a:latin typeface="Tahoma"/>
              <a:ea typeface="+mn-ea"/>
              <a:cs typeface="+mn-cs"/>
            </a:endParaRPr>
          </a:p>
        </p:txBody>
      </p:sp>
      <p:cxnSp>
        <p:nvCxnSpPr>
          <p:cNvPr id="9" name="Straight Connector 8">
            <a:extLst>
              <a:ext uri="{FF2B5EF4-FFF2-40B4-BE49-F238E27FC236}">
                <a16:creationId xmlns:a16="http://schemas.microsoft.com/office/drawing/2014/main" id="{1AAB9A71-ADAA-0949-B752-37BC01FB2424}"/>
              </a:ext>
            </a:extLst>
          </p:cNvPr>
          <p:cNvCxnSpPr>
            <a:cxnSpLocks/>
          </p:cNvCxnSpPr>
          <p:nvPr/>
        </p:nvCxnSpPr>
        <p:spPr>
          <a:xfrm>
            <a:off x="1077166" y="1365360"/>
            <a:ext cx="94598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uppieren 1">
            <a:extLst>
              <a:ext uri="{FF2B5EF4-FFF2-40B4-BE49-F238E27FC236}">
                <a16:creationId xmlns:a16="http://schemas.microsoft.com/office/drawing/2014/main" id="{7FF73CE2-E3B0-FC49-8676-1F8AD263D14A}"/>
              </a:ext>
            </a:extLst>
          </p:cNvPr>
          <p:cNvGrpSpPr/>
          <p:nvPr/>
        </p:nvGrpSpPr>
        <p:grpSpPr>
          <a:xfrm>
            <a:off x="583303" y="2984306"/>
            <a:ext cx="4242095" cy="2156295"/>
            <a:chOff x="257483" y="2332798"/>
            <a:chExt cx="4242095" cy="2156295"/>
          </a:xfrm>
        </p:grpSpPr>
        <p:sp>
          <p:nvSpPr>
            <p:cNvPr id="15" name="Rechteck 5">
              <a:extLst>
                <a:ext uri="{FF2B5EF4-FFF2-40B4-BE49-F238E27FC236}">
                  <a16:creationId xmlns:a16="http://schemas.microsoft.com/office/drawing/2014/main" id="{9DC30DCA-9931-9846-A3A8-850DC44B0600}"/>
                </a:ext>
              </a:extLst>
            </p:cNvPr>
            <p:cNvSpPr/>
            <p:nvPr/>
          </p:nvSpPr>
          <p:spPr bwMode="auto">
            <a:xfrm>
              <a:off x="471540" y="2489168"/>
              <a:ext cx="4028038" cy="1999925"/>
            </a:xfrm>
            <a:prstGeom prst="rect">
              <a:avLst/>
            </a:prstGeom>
            <a:solidFill>
              <a:schemeClr val="bg1"/>
            </a:solid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104372" tIns="52502" rIns="102634" bIns="52502" numCol="1" rtlCol="0" anchor="ctr" anchorCtr="0" compatLnSpc="1">
              <a:prstTxWarp prst="textNoShape">
                <a:avLst/>
              </a:prstTxWarp>
            </a:bodyPr>
            <a:lstStyle/>
            <a:p>
              <a:pPr marL="0" marR="0" lvl="0" indent="0" algn="ctr" defTabSz="995065" rtl="0" eaLnBrk="1" fontAlgn="base" latinLnBrk="0" hangingPunct="1">
                <a:lnSpc>
                  <a:spcPct val="100000"/>
                </a:lnSpc>
                <a:spcBef>
                  <a:spcPct val="0"/>
                </a:spcBef>
                <a:spcAft>
                  <a:spcPct val="0"/>
                </a:spcAft>
                <a:buClr>
                  <a:srgbClr val="FF8000"/>
                </a:buClr>
                <a:buSzPct val="75000"/>
                <a:buFontTx/>
                <a:buNone/>
                <a:tabLst/>
                <a:defRPr/>
              </a:pPr>
              <a:endParaRPr kumimoji="0" lang="de-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17" name="TextBox 187">
              <a:extLst>
                <a:ext uri="{FF2B5EF4-FFF2-40B4-BE49-F238E27FC236}">
                  <a16:creationId xmlns:a16="http://schemas.microsoft.com/office/drawing/2014/main" id="{96666B1E-58E2-D243-8427-815D34C3549F}"/>
                </a:ext>
              </a:extLst>
            </p:cNvPr>
            <p:cNvSpPr txBox="1"/>
            <p:nvPr/>
          </p:nvSpPr>
          <p:spPr>
            <a:xfrm>
              <a:off x="796378" y="2398721"/>
              <a:ext cx="1253348" cy="215444"/>
            </a:xfrm>
            <a:prstGeom prst="rect">
              <a:avLst/>
            </a:prstGeom>
            <a:solidFill>
              <a:schemeClr val="bg1"/>
            </a:solidFill>
          </p:spPr>
          <p:txBody>
            <a:bodyPr wrap="square" lIns="0" tIns="0" rIns="0" bIns="0" rtlCol="0">
              <a:spAutoFit/>
            </a:bodyPr>
            <a:lstStyle/>
            <a:p>
              <a:pPr algn="ctr" defTabSz="914079">
                <a:defRPr/>
              </a:pPr>
              <a:r>
                <a:rPr lang="de-DE" sz="1400" b="1" dirty="0">
                  <a:solidFill>
                    <a:srgbClr val="404040"/>
                  </a:solidFill>
                  <a:latin typeface="Tahoma"/>
                </a:rPr>
                <a:t>Beispiele:</a:t>
              </a:r>
            </a:p>
          </p:txBody>
        </p:sp>
        <p:sp>
          <p:nvSpPr>
            <p:cNvPr id="18" name="Oval 8">
              <a:extLst>
                <a:ext uri="{FF2B5EF4-FFF2-40B4-BE49-F238E27FC236}">
                  <a16:creationId xmlns:a16="http://schemas.microsoft.com/office/drawing/2014/main" id="{93162B3C-38D9-0E42-A025-8E7349CF2B0C}"/>
                </a:ext>
              </a:extLst>
            </p:cNvPr>
            <p:cNvSpPr/>
            <p:nvPr/>
          </p:nvSpPr>
          <p:spPr>
            <a:xfrm>
              <a:off x="257483" y="2332798"/>
              <a:ext cx="376966" cy="376966"/>
            </a:xfrm>
            <a:prstGeom prst="ellipse">
              <a:avLst/>
            </a:prstGeom>
            <a:solidFill>
              <a:srgbClr val="404040"/>
            </a:solidFill>
            <a:ln w="38100">
              <a:no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79" rtl="0" eaLnBrk="1" fontAlgn="auto" latinLnBrk="0" hangingPunct="1">
                <a:lnSpc>
                  <a:spcPct val="100000"/>
                </a:lnSpc>
                <a:spcBef>
                  <a:spcPts val="0"/>
                </a:spcBef>
                <a:spcAft>
                  <a:spcPts val="0"/>
                </a:spcAft>
                <a:buClrTx/>
                <a:buSzTx/>
                <a:buFontTx/>
                <a:buNone/>
                <a:tabLst/>
                <a:defRPr/>
              </a:pPr>
              <a:r>
                <a:rPr lang="de-DE" sz="1600" b="1" dirty="0">
                  <a:solidFill>
                    <a:srgbClr val="FFFFFF"/>
                  </a:solidFill>
                  <a:latin typeface="Tahoma"/>
                </a:rPr>
                <a:t>6</a:t>
              </a:r>
              <a:endParaRPr kumimoji="0" lang="de-DE" sz="1600" b="1"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Text Placeholder 2">
              <a:extLst>
                <a:ext uri="{FF2B5EF4-FFF2-40B4-BE49-F238E27FC236}">
                  <a16:creationId xmlns:a16="http://schemas.microsoft.com/office/drawing/2014/main" id="{1F713AF2-F295-2648-8BA5-8B048E7A53C3}"/>
                </a:ext>
              </a:extLst>
            </p:cNvPr>
            <p:cNvSpPr txBox="1">
              <a:spLocks/>
            </p:cNvSpPr>
            <p:nvPr/>
          </p:nvSpPr>
          <p:spPr>
            <a:xfrm>
              <a:off x="729128" y="2873896"/>
              <a:ext cx="3512862" cy="1292662"/>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Sich auf vielfältige Weise religiöse Inhalte erschließen</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Ausdrucksformen der Solidarität und der Vergebung kennenlernen</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Rituale und Feste entdecken</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Andere Religionen kennenlernen</a:t>
              </a:r>
            </a:p>
          </p:txBody>
        </p:sp>
      </p:grpSp>
      <p:pic>
        <p:nvPicPr>
          <p:cNvPr id="14" name="Picture 6" descr="F:\Sicherung April 14\Kitas\PPP Kita 14\Juni 14\Kaldauen\Foto 3.jpg">
            <a:extLst>
              <a:ext uri="{FF2B5EF4-FFF2-40B4-BE49-F238E27FC236}">
                <a16:creationId xmlns:a16="http://schemas.microsoft.com/office/drawing/2014/main" id="{27A7D6EE-4B3A-1B47-AB03-D844FB7CC162}"/>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834253" y="2152723"/>
            <a:ext cx="2677179" cy="199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descr="September2014 037">
            <a:extLst>
              <a:ext uri="{FF2B5EF4-FFF2-40B4-BE49-F238E27FC236}">
                <a16:creationId xmlns:a16="http://schemas.microsoft.com/office/drawing/2014/main" id="{B325E6EA-2940-754F-8205-FE602B330B6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834253" y="4282478"/>
            <a:ext cx="2666133" cy="199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7" descr="Weihnachtskrippe">
            <a:extLst>
              <a:ext uri="{FF2B5EF4-FFF2-40B4-BE49-F238E27FC236}">
                <a16:creationId xmlns:a16="http://schemas.microsoft.com/office/drawing/2014/main" id="{12379995-C5C5-7149-8282-EF7E086D817E}"/>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377562" y="3140675"/>
            <a:ext cx="3008018" cy="199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502205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descr="Ein Bild, das Text, Tisch, drinnen, Schreibgerät enthält.&#10;&#10;Automatisch generierte Beschreibung">
            <a:extLst>
              <a:ext uri="{FF2B5EF4-FFF2-40B4-BE49-F238E27FC236}">
                <a16:creationId xmlns:a16="http://schemas.microsoft.com/office/drawing/2014/main" id="{09AED58D-3272-F749-83A9-91AA2AE7804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95"/>
          <a:stretch/>
        </p:blipFill>
        <p:spPr>
          <a:xfrm>
            <a:off x="-23925" y="566696"/>
            <a:ext cx="12239849" cy="1430278"/>
          </a:xfrm>
          <a:prstGeom prst="rect">
            <a:avLst/>
          </a:prstGeom>
        </p:spPr>
      </p:pic>
      <p:sp>
        <p:nvSpPr>
          <p:cNvPr id="5" name="Rectangle 21">
            <a:extLst>
              <a:ext uri="{FF2B5EF4-FFF2-40B4-BE49-F238E27FC236}">
                <a16:creationId xmlns:a16="http://schemas.microsoft.com/office/drawing/2014/main" id="{95CE66D6-3CEF-7B4E-910B-BDC92F9B8101}"/>
              </a:ext>
            </a:extLst>
          </p:cNvPr>
          <p:cNvSpPr/>
          <p:nvPr/>
        </p:nvSpPr>
        <p:spPr bwMode="auto">
          <a:xfrm>
            <a:off x="-23925" y="555284"/>
            <a:ext cx="12239849" cy="1452196"/>
          </a:xfrm>
          <a:prstGeom prst="rect">
            <a:avLst/>
          </a:prstGeom>
          <a:solidFill>
            <a:schemeClr val="accent1">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7" name="TextBox 6">
            <a:extLst>
              <a:ext uri="{FF2B5EF4-FFF2-40B4-BE49-F238E27FC236}">
                <a16:creationId xmlns:a16="http://schemas.microsoft.com/office/drawing/2014/main" id="{CF6AB2DF-74BF-8748-87D8-FCFDA75C68B5}"/>
              </a:ext>
            </a:extLst>
          </p:cNvPr>
          <p:cNvSpPr txBox="1"/>
          <p:nvPr/>
        </p:nvSpPr>
        <p:spPr>
          <a:xfrm>
            <a:off x="1077166" y="948262"/>
            <a:ext cx="3422412" cy="369332"/>
          </a:xfrm>
          <a:prstGeom prst="rect">
            <a:avLst/>
          </a:prstGeom>
          <a:noFill/>
        </p:spPr>
        <p:txBody>
          <a:bodyPr wrap="none" lIns="0" tIns="0" rIns="0" bIns="0" rtlCol="0">
            <a:spAutoFit/>
          </a:bodyPr>
          <a:lstStyle/>
          <a:p>
            <a:pPr marL="0" marR="0" lvl="0" indent="0" algn="l" defTabSz="914079"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300" normalizeH="0" baseline="0" noProof="0" dirty="0">
                <a:ln>
                  <a:noFill/>
                </a:ln>
                <a:solidFill>
                  <a:srgbClr val="FFFFFF"/>
                </a:solidFill>
                <a:effectLst/>
                <a:uLnTx/>
                <a:uFillTx/>
                <a:latin typeface="Tahoma"/>
                <a:ea typeface="+mn-ea"/>
                <a:cs typeface="+mn-cs"/>
              </a:rPr>
              <a:t>Bildungsbereich 7</a:t>
            </a:r>
          </a:p>
        </p:txBody>
      </p:sp>
      <p:sp>
        <p:nvSpPr>
          <p:cNvPr id="16" name="TextBox 7">
            <a:extLst>
              <a:ext uri="{FF2B5EF4-FFF2-40B4-BE49-F238E27FC236}">
                <a16:creationId xmlns:a16="http://schemas.microsoft.com/office/drawing/2014/main" id="{21E41DE7-6C40-2048-9CAA-377D11F356EA}"/>
              </a:ext>
            </a:extLst>
          </p:cNvPr>
          <p:cNvSpPr txBox="1"/>
          <p:nvPr/>
        </p:nvSpPr>
        <p:spPr>
          <a:xfrm>
            <a:off x="1077166" y="1494956"/>
            <a:ext cx="3787512" cy="246221"/>
          </a:xfrm>
          <a:prstGeom prst="rect">
            <a:avLst/>
          </a:prstGeom>
          <a:noFill/>
        </p:spPr>
        <p:txBody>
          <a:bodyPr wrap="none" lIns="0" tIns="0" rIns="0" bIns="0" rtlCol="0">
            <a:spAutoFit/>
          </a:bodyPr>
          <a:lstStyle/>
          <a:p>
            <a:pPr defTabSz="914079">
              <a:defRPr/>
            </a:pPr>
            <a:r>
              <a:rPr lang="de-DE" sz="1600" spc="300" dirty="0">
                <a:solidFill>
                  <a:srgbClr val="FFFFFF"/>
                </a:solidFill>
                <a:latin typeface="Tahoma"/>
              </a:rPr>
              <a:t>Mathematische Bildung - </a:t>
            </a:r>
            <a:r>
              <a:rPr lang="de-DE" sz="1600" b="1" spc="300" dirty="0">
                <a:solidFill>
                  <a:srgbClr val="FFFFFF"/>
                </a:solidFill>
                <a:latin typeface="Tahoma"/>
              </a:rPr>
              <a:t>Kita</a:t>
            </a:r>
            <a:endParaRPr kumimoji="0" lang="de-DE" sz="1600" b="1" i="0" u="none" strike="noStrike" kern="1200" cap="none" spc="300" normalizeH="0" baseline="0" noProof="0" dirty="0">
              <a:ln>
                <a:noFill/>
              </a:ln>
              <a:solidFill>
                <a:srgbClr val="FFFFFF"/>
              </a:solidFill>
              <a:effectLst/>
              <a:uLnTx/>
              <a:uFillTx/>
              <a:latin typeface="Tahoma"/>
              <a:ea typeface="+mn-ea"/>
              <a:cs typeface="+mn-cs"/>
            </a:endParaRPr>
          </a:p>
        </p:txBody>
      </p:sp>
      <p:cxnSp>
        <p:nvCxnSpPr>
          <p:cNvPr id="9" name="Straight Connector 8">
            <a:extLst>
              <a:ext uri="{FF2B5EF4-FFF2-40B4-BE49-F238E27FC236}">
                <a16:creationId xmlns:a16="http://schemas.microsoft.com/office/drawing/2014/main" id="{1AAB9A71-ADAA-0949-B752-37BC01FB2424}"/>
              </a:ext>
            </a:extLst>
          </p:cNvPr>
          <p:cNvCxnSpPr>
            <a:cxnSpLocks/>
          </p:cNvCxnSpPr>
          <p:nvPr/>
        </p:nvCxnSpPr>
        <p:spPr>
          <a:xfrm>
            <a:off x="1077166" y="1365360"/>
            <a:ext cx="94598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hteck 5">
            <a:extLst>
              <a:ext uri="{FF2B5EF4-FFF2-40B4-BE49-F238E27FC236}">
                <a16:creationId xmlns:a16="http://schemas.microsoft.com/office/drawing/2014/main" id="{9DC30DCA-9931-9846-A3A8-850DC44B0600}"/>
              </a:ext>
            </a:extLst>
          </p:cNvPr>
          <p:cNvSpPr/>
          <p:nvPr/>
        </p:nvSpPr>
        <p:spPr bwMode="auto">
          <a:xfrm>
            <a:off x="471540" y="2489168"/>
            <a:ext cx="4028038" cy="3312541"/>
          </a:xfrm>
          <a:prstGeom prst="rect">
            <a:avLst/>
          </a:prstGeom>
          <a:solidFill>
            <a:schemeClr val="bg1"/>
          </a:solid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104372" tIns="52502" rIns="102634" bIns="52502" numCol="1" rtlCol="0" anchor="ctr" anchorCtr="0" compatLnSpc="1">
            <a:prstTxWarp prst="textNoShape">
              <a:avLst/>
            </a:prstTxWarp>
          </a:bodyPr>
          <a:lstStyle/>
          <a:p>
            <a:pPr marL="0" marR="0" lvl="0" indent="0" algn="ctr" defTabSz="995065" rtl="0" eaLnBrk="1" fontAlgn="base" latinLnBrk="0" hangingPunct="1">
              <a:lnSpc>
                <a:spcPct val="100000"/>
              </a:lnSpc>
              <a:spcBef>
                <a:spcPct val="0"/>
              </a:spcBef>
              <a:spcAft>
                <a:spcPct val="0"/>
              </a:spcAft>
              <a:buClr>
                <a:srgbClr val="FF8000"/>
              </a:buClr>
              <a:buSzPct val="75000"/>
              <a:buFontTx/>
              <a:buNone/>
              <a:tabLst/>
              <a:defRPr/>
            </a:pPr>
            <a:endParaRPr kumimoji="0" lang="de-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17" name="TextBox 187">
            <a:extLst>
              <a:ext uri="{FF2B5EF4-FFF2-40B4-BE49-F238E27FC236}">
                <a16:creationId xmlns:a16="http://schemas.microsoft.com/office/drawing/2014/main" id="{96666B1E-58E2-D243-8427-815D34C3549F}"/>
              </a:ext>
            </a:extLst>
          </p:cNvPr>
          <p:cNvSpPr txBox="1"/>
          <p:nvPr/>
        </p:nvSpPr>
        <p:spPr>
          <a:xfrm>
            <a:off x="796378" y="2398721"/>
            <a:ext cx="1253348" cy="215444"/>
          </a:xfrm>
          <a:prstGeom prst="rect">
            <a:avLst/>
          </a:prstGeom>
          <a:solidFill>
            <a:schemeClr val="bg1"/>
          </a:solidFill>
        </p:spPr>
        <p:txBody>
          <a:bodyPr wrap="square" lIns="0" tIns="0" rIns="0" bIns="0" rtlCol="0">
            <a:spAutoFit/>
          </a:bodyPr>
          <a:lstStyle/>
          <a:p>
            <a:pPr algn="ctr" defTabSz="914079">
              <a:defRPr/>
            </a:pPr>
            <a:r>
              <a:rPr lang="de-DE" sz="1400" b="1" dirty="0">
                <a:solidFill>
                  <a:srgbClr val="404040"/>
                </a:solidFill>
                <a:latin typeface="Tahoma"/>
              </a:rPr>
              <a:t>Wichtig:</a:t>
            </a:r>
          </a:p>
        </p:txBody>
      </p:sp>
      <p:sp>
        <p:nvSpPr>
          <p:cNvPr id="18" name="Oval 8">
            <a:extLst>
              <a:ext uri="{FF2B5EF4-FFF2-40B4-BE49-F238E27FC236}">
                <a16:creationId xmlns:a16="http://schemas.microsoft.com/office/drawing/2014/main" id="{93162B3C-38D9-0E42-A025-8E7349CF2B0C}"/>
              </a:ext>
            </a:extLst>
          </p:cNvPr>
          <p:cNvSpPr/>
          <p:nvPr/>
        </p:nvSpPr>
        <p:spPr>
          <a:xfrm>
            <a:off x="257483" y="2332798"/>
            <a:ext cx="376966" cy="376966"/>
          </a:xfrm>
          <a:prstGeom prst="ellipse">
            <a:avLst/>
          </a:prstGeom>
          <a:solidFill>
            <a:srgbClr val="404040"/>
          </a:solidFill>
          <a:ln w="38100">
            <a:no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79"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FFFFFF"/>
                </a:solidFill>
                <a:effectLst/>
                <a:uLnTx/>
                <a:uFillTx/>
                <a:latin typeface="Tahoma"/>
                <a:ea typeface="+mn-ea"/>
                <a:cs typeface="+mn-cs"/>
              </a:rPr>
              <a:t>7</a:t>
            </a:r>
          </a:p>
        </p:txBody>
      </p:sp>
      <p:sp>
        <p:nvSpPr>
          <p:cNvPr id="30" name="Text Placeholder 2">
            <a:extLst>
              <a:ext uri="{FF2B5EF4-FFF2-40B4-BE49-F238E27FC236}">
                <a16:creationId xmlns:a16="http://schemas.microsoft.com/office/drawing/2014/main" id="{1F713AF2-F295-2648-8BA5-8B048E7A53C3}"/>
              </a:ext>
            </a:extLst>
          </p:cNvPr>
          <p:cNvSpPr txBox="1">
            <a:spLocks/>
          </p:cNvSpPr>
          <p:nvPr/>
        </p:nvSpPr>
        <p:spPr>
          <a:xfrm>
            <a:off x="796378" y="2698505"/>
            <a:ext cx="3512862" cy="3016210"/>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defRPr/>
            </a:pPr>
            <a:r>
              <a:rPr lang="de-DE" sz="1400" dirty="0">
                <a:solidFill>
                  <a:schemeClr val="tx1">
                    <a:lumMod val="65000"/>
                    <a:lumOff val="35000"/>
                  </a:schemeClr>
                </a:solidFill>
                <a:latin typeface="Tahoma"/>
              </a:rPr>
              <a:t>Folgende Inhalte sind für den Bildungsbereich „Mathematik“ von Bedeutung:</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Die Kinder entwickeln eine räumliche und zeitliche Wahrnehmung und Orientierung</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Die Kinder kennen und benennen geometrische Grundformen.  Diese Formen werden auch im Alltag wiedergefunden und erkannt</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Die Kinder erkennen und nutzen Ordnungssysteme</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Die Kinder erweitern ihr Zahlenverständnis</a:t>
            </a:r>
          </a:p>
        </p:txBody>
      </p:sp>
      <p:pic>
        <p:nvPicPr>
          <p:cNvPr id="14" name="Inhaltsplatzhalter 7">
            <a:extLst>
              <a:ext uri="{FF2B5EF4-FFF2-40B4-BE49-F238E27FC236}">
                <a16:creationId xmlns:a16="http://schemas.microsoft.com/office/drawing/2014/main" id="{6A807DE7-85D3-0B4C-981C-222F7F60C571}"/>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a:xfrm>
            <a:off x="5053805" y="2983388"/>
            <a:ext cx="3100206" cy="2324100"/>
          </a:xfrm>
          <a:prstGeom prst="rect">
            <a:avLst/>
          </a:prstGeom>
        </p:spPr>
      </p:pic>
      <p:pic>
        <p:nvPicPr>
          <p:cNvPr id="19" name="Picture 3" descr="C:\Users\nolte\Documents\Schule\Kita\Neuer Ordner\kath kita 8.JPG">
            <a:extLst>
              <a:ext uri="{FF2B5EF4-FFF2-40B4-BE49-F238E27FC236}">
                <a16:creationId xmlns:a16="http://schemas.microsoft.com/office/drawing/2014/main" id="{1F8C8CFB-A3A0-2E46-A8C6-3838370B211B}"/>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621036" y="2983388"/>
            <a:ext cx="3099424" cy="232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39361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1CD580-8A30-C748-AC1F-B2BC53FBF540}"/>
              </a:ext>
            </a:extLst>
          </p:cNvPr>
          <p:cNvSpPr>
            <a:spLocks noGrp="1"/>
          </p:cNvSpPr>
          <p:nvPr>
            <p:ph type="title"/>
          </p:nvPr>
        </p:nvSpPr>
        <p:spPr/>
        <p:txBody>
          <a:bodyPr/>
          <a:lstStyle/>
          <a:p>
            <a:r>
              <a:rPr lang="de-DE"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Die Präsentation gibt grundlegende Informationen über 3 Themenbereiche</a:t>
            </a:r>
          </a:p>
        </p:txBody>
      </p:sp>
      <p:sp>
        <p:nvSpPr>
          <p:cNvPr id="3" name="Textplatzhalter 2">
            <a:extLst>
              <a:ext uri="{FF2B5EF4-FFF2-40B4-BE49-F238E27FC236}">
                <a16:creationId xmlns:a16="http://schemas.microsoft.com/office/drawing/2014/main" id="{C3F4BA07-9109-A749-A00C-4BDE89D260CC}"/>
              </a:ext>
            </a:extLst>
          </p:cNvPr>
          <p:cNvSpPr>
            <a:spLocks noGrp="1"/>
          </p:cNvSpPr>
          <p:nvPr>
            <p:ph type="body" sz="quarter" idx="10"/>
          </p:nvPr>
        </p:nvSpPr>
        <p:spPr/>
        <p:txBody>
          <a:bodyPr/>
          <a:lstStyle/>
          <a:p>
            <a:r>
              <a:rPr lang="de-DE" dirty="0"/>
              <a:t>AGENDA</a:t>
            </a:r>
          </a:p>
        </p:txBody>
      </p:sp>
      <p:pic>
        <p:nvPicPr>
          <p:cNvPr id="63" name="Grafik 62" descr="Ein Bild, das drinnen, Geburtstag, ausgestaltet enthält.&#10;&#10;Automatisch generierte Beschreibung">
            <a:extLst>
              <a:ext uri="{FF2B5EF4-FFF2-40B4-BE49-F238E27FC236}">
                <a16:creationId xmlns:a16="http://schemas.microsoft.com/office/drawing/2014/main" id="{B033A5C4-4E68-1D4B-B431-51013F6C899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976156" y="1255568"/>
            <a:ext cx="4073246" cy="2469171"/>
          </a:xfrm>
          <a:prstGeom prst="rect">
            <a:avLst/>
          </a:prstGeom>
        </p:spPr>
      </p:pic>
      <p:sp>
        <p:nvSpPr>
          <p:cNvPr id="45" name="Parallelogram 7">
            <a:extLst>
              <a:ext uri="{FF2B5EF4-FFF2-40B4-BE49-F238E27FC236}">
                <a16:creationId xmlns:a16="http://schemas.microsoft.com/office/drawing/2014/main" id="{782DE700-B679-DE49-9234-A24CB4438E1B}"/>
              </a:ext>
            </a:extLst>
          </p:cNvPr>
          <p:cNvSpPr/>
          <p:nvPr/>
        </p:nvSpPr>
        <p:spPr>
          <a:xfrm flipH="1">
            <a:off x="6984317" y="1250086"/>
            <a:ext cx="3784717" cy="2469171"/>
          </a:xfrm>
          <a:prstGeom prst="parallelogram">
            <a:avLst>
              <a:gd name="adj" fmla="val 41201"/>
            </a:avLst>
          </a:prstGeom>
          <a:solidFill>
            <a:srgbClr val="A6A6A6">
              <a:lumMod val="20000"/>
              <a:lumOff val="80000"/>
            </a:srgbClr>
          </a:solidFill>
          <a:ln w="25400" cap="flat" cmpd="sng" algn="ctr">
            <a:noFill/>
            <a:prstDash val="solid"/>
          </a:ln>
          <a:effectLst>
            <a:outerShdw blurRad="50800" dist="38100" algn="l" rotWithShape="0">
              <a:prstClr val="black">
                <a:alpha val="40000"/>
              </a:prstClr>
            </a:outerShdw>
          </a:effectLst>
        </p:spPr>
        <p:txBody>
          <a:bodyPr rtlCol="0" anchor="ctr"/>
          <a:lstStyle/>
          <a:p>
            <a:pPr marL="0" marR="0" lvl="0" indent="0" algn="ctr" defTabSz="574493" eaLnBrk="1" fontAlgn="auto" latinLnBrk="0" hangingPunct="1">
              <a:lnSpc>
                <a:spcPct val="100000"/>
              </a:lnSpc>
              <a:spcBef>
                <a:spcPts val="0"/>
              </a:spcBef>
              <a:spcAft>
                <a:spcPts val="0"/>
              </a:spcAft>
              <a:buClrTx/>
              <a:buSzTx/>
              <a:buFontTx/>
              <a:buNone/>
              <a:tabLst/>
              <a:defRPr/>
            </a:pPr>
            <a:endParaRPr kumimoji="0" lang="en-US" sz="1014" b="0" i="0" u="none" strike="noStrike" kern="0" cap="none" spc="0" normalizeH="0" baseline="0" noProof="0" dirty="0">
              <a:ln>
                <a:noFill/>
              </a:ln>
              <a:solidFill>
                <a:srgbClr val="FFFFFF"/>
              </a:solidFill>
              <a:effectLst/>
              <a:uLnTx/>
              <a:uFillTx/>
              <a:latin typeface="Tahoma"/>
              <a:ea typeface="+mn-ea"/>
              <a:cs typeface="+mn-cs"/>
            </a:endParaRPr>
          </a:p>
        </p:txBody>
      </p:sp>
      <p:pic>
        <p:nvPicPr>
          <p:cNvPr id="67" name="Grafik 66" descr="Ein Bild, das Person, drinnen enthält.&#10;&#10;Automatisch generierte Beschreibung">
            <a:extLst>
              <a:ext uri="{FF2B5EF4-FFF2-40B4-BE49-F238E27FC236}">
                <a16:creationId xmlns:a16="http://schemas.microsoft.com/office/drawing/2014/main" id="{6BED559C-7001-D042-B579-220E3FDD100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1"/>
          <a:stretch/>
        </p:blipFill>
        <p:spPr>
          <a:xfrm>
            <a:off x="6937818" y="3724737"/>
            <a:ext cx="3831216" cy="2469171"/>
          </a:xfrm>
          <a:prstGeom prst="parallelogram">
            <a:avLst/>
          </a:prstGeom>
          <a:blipFill>
            <a:blip r:embed="rId4" cstate="emai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a:fillRect t="247"/>
            </a:stretch>
          </a:blipFill>
          <a:ln w="25400" cap="flat" cmpd="sng" algn="ctr">
            <a:noFill/>
            <a:prstDash val="solid"/>
          </a:ln>
          <a:effectLst>
            <a:outerShdw blurRad="50800" dist="38100" algn="l" rotWithShape="0">
              <a:prstClr val="black">
                <a:alpha val="40000"/>
              </a:prstClr>
            </a:outerShdw>
          </a:effectLst>
        </p:spPr>
      </p:pic>
      <p:sp>
        <p:nvSpPr>
          <p:cNvPr id="48" name="Parallelogram 8">
            <a:extLst>
              <a:ext uri="{FF2B5EF4-FFF2-40B4-BE49-F238E27FC236}">
                <a16:creationId xmlns:a16="http://schemas.microsoft.com/office/drawing/2014/main" id="{BCA397E3-8EC2-8948-B752-922F04689C09}"/>
              </a:ext>
            </a:extLst>
          </p:cNvPr>
          <p:cNvSpPr/>
          <p:nvPr/>
        </p:nvSpPr>
        <p:spPr>
          <a:xfrm>
            <a:off x="4198535" y="3724737"/>
            <a:ext cx="3760680" cy="2469171"/>
          </a:xfrm>
          <a:prstGeom prst="parallelogram">
            <a:avLst>
              <a:gd name="adj" fmla="val 41201"/>
            </a:avLst>
          </a:prstGeom>
          <a:solidFill>
            <a:srgbClr val="A6A6A6">
              <a:lumMod val="20000"/>
              <a:lumOff val="80000"/>
            </a:srgbClr>
          </a:solidFill>
          <a:ln w="25400" cap="flat" cmpd="sng" algn="ctr">
            <a:noFill/>
            <a:prstDash val="solid"/>
          </a:ln>
          <a:effectLst/>
        </p:spPr>
        <p:txBody>
          <a:bodyPr rtlCol="0" anchor="ctr"/>
          <a:lstStyle/>
          <a:p>
            <a:pPr marL="0" marR="0" lvl="0" indent="0" algn="ctr" defTabSz="574493" eaLnBrk="1" fontAlgn="auto" latinLnBrk="0" hangingPunct="1">
              <a:lnSpc>
                <a:spcPct val="100000"/>
              </a:lnSpc>
              <a:spcBef>
                <a:spcPts val="0"/>
              </a:spcBef>
              <a:spcAft>
                <a:spcPts val="0"/>
              </a:spcAft>
              <a:buClrTx/>
              <a:buSzTx/>
              <a:buFontTx/>
              <a:buNone/>
              <a:tabLst/>
              <a:defRPr/>
            </a:pPr>
            <a:endParaRPr kumimoji="0" lang="en-US" sz="484" b="0" i="0" u="none" strike="noStrike" kern="0" cap="none" spc="0" normalizeH="0" baseline="0" noProof="0" dirty="0">
              <a:ln>
                <a:noFill/>
              </a:ln>
              <a:solidFill>
                <a:srgbClr val="FFFFFF"/>
              </a:solidFill>
              <a:effectLst/>
              <a:uLnTx/>
              <a:uFillTx/>
              <a:latin typeface="Tahoma"/>
              <a:ea typeface="+mn-ea"/>
              <a:cs typeface="+mn-cs"/>
            </a:endParaRPr>
          </a:p>
        </p:txBody>
      </p:sp>
      <p:pic>
        <p:nvPicPr>
          <p:cNvPr id="65" name="Grafik 64" descr="Ein Bild, das drinnen, Büro enthält.&#10;&#10;Automatisch generierte Beschreibung">
            <a:extLst>
              <a:ext uri="{FF2B5EF4-FFF2-40B4-BE49-F238E27FC236}">
                <a16:creationId xmlns:a16="http://schemas.microsoft.com/office/drawing/2014/main" id="{0955F5AC-AE72-B04B-9929-1F3A1003021D}"/>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457513" y="3724738"/>
            <a:ext cx="3760680" cy="2469171"/>
          </a:xfrm>
          <a:prstGeom prst="parallelogram">
            <a:avLst>
              <a:gd name="adj" fmla="val 40419"/>
            </a:avLst>
          </a:prstGeom>
        </p:spPr>
      </p:pic>
      <p:sp>
        <p:nvSpPr>
          <p:cNvPr id="42" name="Parallelogram 7">
            <a:extLst>
              <a:ext uri="{FF2B5EF4-FFF2-40B4-BE49-F238E27FC236}">
                <a16:creationId xmlns:a16="http://schemas.microsoft.com/office/drawing/2014/main" id="{A929F380-7793-9B4D-86CB-F7FFDD745EC5}"/>
              </a:ext>
            </a:extLst>
          </p:cNvPr>
          <p:cNvSpPr/>
          <p:nvPr/>
        </p:nvSpPr>
        <p:spPr>
          <a:xfrm flipH="1">
            <a:off x="1422966" y="1255568"/>
            <a:ext cx="3784717" cy="2469171"/>
          </a:xfrm>
          <a:prstGeom prst="parallelogram">
            <a:avLst>
              <a:gd name="adj" fmla="val 41201"/>
            </a:avLst>
          </a:prstGeom>
          <a:solidFill>
            <a:srgbClr val="A6A6A6">
              <a:lumMod val="20000"/>
              <a:lumOff val="80000"/>
            </a:srgbClr>
          </a:solidFill>
          <a:ln w="25400" cap="flat" cmpd="sng" algn="ctr">
            <a:noFill/>
            <a:prstDash val="solid"/>
          </a:ln>
          <a:effectLst/>
        </p:spPr>
        <p:txBody>
          <a:bodyPr rtlCol="0" anchor="ctr"/>
          <a:lstStyle/>
          <a:p>
            <a:pPr marL="0" marR="0" lvl="0" indent="0" algn="ctr" defTabSz="574493" eaLnBrk="1" fontAlgn="auto" latinLnBrk="0" hangingPunct="1">
              <a:lnSpc>
                <a:spcPct val="100000"/>
              </a:lnSpc>
              <a:spcBef>
                <a:spcPts val="0"/>
              </a:spcBef>
              <a:spcAft>
                <a:spcPts val="0"/>
              </a:spcAft>
              <a:buClrTx/>
              <a:buSzTx/>
              <a:buFontTx/>
              <a:buNone/>
              <a:tabLst/>
              <a:defRPr/>
            </a:pPr>
            <a:endParaRPr kumimoji="0" lang="en-US" sz="1014" b="0" i="0" u="none" strike="noStrike" kern="0" cap="none" spc="0" normalizeH="0" baseline="0" noProof="0" dirty="0">
              <a:ln>
                <a:noFill/>
              </a:ln>
              <a:solidFill>
                <a:srgbClr val="FFFFFF"/>
              </a:solidFill>
              <a:effectLst/>
              <a:uLnTx/>
              <a:uFillTx/>
              <a:latin typeface="Tahoma"/>
              <a:ea typeface="+mn-ea"/>
              <a:cs typeface="+mn-cs"/>
            </a:endParaRPr>
          </a:p>
        </p:txBody>
      </p:sp>
      <p:sp>
        <p:nvSpPr>
          <p:cNvPr id="47" name="Textfeld 46">
            <a:extLst>
              <a:ext uri="{FF2B5EF4-FFF2-40B4-BE49-F238E27FC236}">
                <a16:creationId xmlns:a16="http://schemas.microsoft.com/office/drawing/2014/main" id="{02F1F2D9-DE33-FA49-81AC-ED4F91CDD039}"/>
              </a:ext>
            </a:extLst>
          </p:cNvPr>
          <p:cNvSpPr txBox="1"/>
          <p:nvPr/>
        </p:nvSpPr>
        <p:spPr>
          <a:xfrm>
            <a:off x="2435565" y="1614218"/>
            <a:ext cx="2161932" cy="1620193"/>
          </a:xfrm>
          <a:prstGeom prst="rect">
            <a:avLst/>
          </a:prstGeom>
          <a:noFill/>
          <a:ln w="12700" cap="flat">
            <a:noFill/>
            <a:miter lim="400000"/>
          </a:ln>
          <a:effectLst/>
          <a:sp3d/>
        </p:spPr>
        <p:txBody>
          <a:bodyPr rot="0" spcFirstLastPara="1" vertOverflow="overflow" horzOverflow="overflow" vert="horz" wrap="square" lIns="39683" tIns="59525" rIns="20999" bIns="20999" numCol="1" spcCol="38100" rtlCol="0" anchor="ctr">
            <a:spAutoFit/>
          </a:bodyPr>
          <a:lstStyle/>
          <a:p>
            <a:pPr>
              <a:defRPr/>
            </a:pPr>
            <a:r>
              <a:rPr lang="de-DE" altLang="de-DE" sz="2000" b="1" dirty="0">
                <a:solidFill>
                  <a:schemeClr val="tx1">
                    <a:lumMod val="65000"/>
                    <a:lumOff val="35000"/>
                  </a:schemeClr>
                </a:solidFill>
              </a:rPr>
              <a:t>Die Bildungsförderung von 4-6 jährigen Kindern in den Kindertagesstätten</a:t>
            </a:r>
          </a:p>
        </p:txBody>
      </p:sp>
      <p:sp>
        <p:nvSpPr>
          <p:cNvPr id="68" name="Textfeld 67">
            <a:extLst>
              <a:ext uri="{FF2B5EF4-FFF2-40B4-BE49-F238E27FC236}">
                <a16:creationId xmlns:a16="http://schemas.microsoft.com/office/drawing/2014/main" id="{A4B86E67-CA15-264C-BA41-7ABAA8CB60C6}"/>
              </a:ext>
            </a:extLst>
          </p:cNvPr>
          <p:cNvSpPr txBox="1"/>
          <p:nvPr/>
        </p:nvSpPr>
        <p:spPr>
          <a:xfrm>
            <a:off x="4872767" y="4595756"/>
            <a:ext cx="2592113" cy="696863"/>
          </a:xfrm>
          <a:prstGeom prst="rect">
            <a:avLst/>
          </a:prstGeom>
          <a:noFill/>
          <a:ln w="12700" cap="flat">
            <a:noFill/>
            <a:miter lim="400000"/>
          </a:ln>
          <a:effectLst/>
          <a:sp3d/>
        </p:spPr>
        <p:txBody>
          <a:bodyPr rot="0" spcFirstLastPara="1" vertOverflow="overflow" horzOverflow="overflow" vert="horz" wrap="square" lIns="39683" tIns="59525" rIns="20999" bIns="20999" numCol="1" spcCol="38100" rtlCol="0" anchor="ctr">
            <a:spAutoFit/>
          </a:bodyPr>
          <a:lstStyle/>
          <a:p>
            <a:pPr>
              <a:defRPr/>
            </a:pPr>
            <a:r>
              <a:rPr lang="de-DE" altLang="de-DE" sz="2000" b="1" dirty="0">
                <a:solidFill>
                  <a:schemeClr val="tx1">
                    <a:lumMod val="65000"/>
                    <a:lumOff val="35000"/>
                  </a:schemeClr>
                </a:solidFill>
              </a:rPr>
              <a:t>Sprachstandfeststellung und Sprachförderung</a:t>
            </a:r>
          </a:p>
        </p:txBody>
      </p:sp>
      <p:sp>
        <p:nvSpPr>
          <p:cNvPr id="69" name="Textfeld 68">
            <a:extLst>
              <a:ext uri="{FF2B5EF4-FFF2-40B4-BE49-F238E27FC236}">
                <a16:creationId xmlns:a16="http://schemas.microsoft.com/office/drawing/2014/main" id="{C4C28F54-AB67-A24D-B761-953AC8DDE209}"/>
              </a:ext>
            </a:extLst>
          </p:cNvPr>
          <p:cNvSpPr txBox="1"/>
          <p:nvPr/>
        </p:nvSpPr>
        <p:spPr>
          <a:xfrm>
            <a:off x="7959215" y="1856155"/>
            <a:ext cx="2592113" cy="1004640"/>
          </a:xfrm>
          <a:prstGeom prst="rect">
            <a:avLst/>
          </a:prstGeom>
          <a:noFill/>
          <a:ln w="12700" cap="flat">
            <a:noFill/>
            <a:miter lim="400000"/>
          </a:ln>
          <a:effectLst/>
          <a:sp3d/>
        </p:spPr>
        <p:txBody>
          <a:bodyPr rot="0" spcFirstLastPara="1" vertOverflow="overflow" horzOverflow="overflow" vert="horz" wrap="square" lIns="39683" tIns="59525" rIns="20999" bIns="20999" numCol="1" spcCol="38100" rtlCol="0" anchor="ctr">
            <a:spAutoFit/>
          </a:bodyPr>
          <a:lstStyle/>
          <a:p>
            <a:pPr>
              <a:defRPr/>
            </a:pPr>
            <a:r>
              <a:rPr lang="de-DE" altLang="de-DE" sz="2000" b="1" dirty="0">
                <a:solidFill>
                  <a:schemeClr val="tx1">
                    <a:lumMod val="65000"/>
                    <a:lumOff val="35000"/>
                  </a:schemeClr>
                </a:solidFill>
              </a:rPr>
              <a:t>Erwartung der Grundschulen bei Schulbeginn</a:t>
            </a:r>
          </a:p>
        </p:txBody>
      </p:sp>
    </p:spTree>
    <p:extLst>
      <p:ext uri="{BB962C8B-B14F-4D97-AF65-F5344CB8AC3E}">
        <p14:creationId xmlns:p14="http://schemas.microsoft.com/office/powerpoint/2010/main" val="10329953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descr="Ein Bild, das Text, Tisch, drinnen, Schreibgerät enthält.&#10;&#10;Automatisch generierte Beschreibung">
            <a:extLst>
              <a:ext uri="{FF2B5EF4-FFF2-40B4-BE49-F238E27FC236}">
                <a16:creationId xmlns:a16="http://schemas.microsoft.com/office/drawing/2014/main" id="{09AED58D-3272-F749-83A9-91AA2AE7804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95"/>
          <a:stretch/>
        </p:blipFill>
        <p:spPr>
          <a:xfrm>
            <a:off x="-23925" y="566696"/>
            <a:ext cx="12239849" cy="1430278"/>
          </a:xfrm>
          <a:prstGeom prst="rect">
            <a:avLst/>
          </a:prstGeom>
        </p:spPr>
      </p:pic>
      <p:sp>
        <p:nvSpPr>
          <p:cNvPr id="5" name="Rectangle 21">
            <a:extLst>
              <a:ext uri="{FF2B5EF4-FFF2-40B4-BE49-F238E27FC236}">
                <a16:creationId xmlns:a16="http://schemas.microsoft.com/office/drawing/2014/main" id="{95CE66D6-3CEF-7B4E-910B-BDC92F9B8101}"/>
              </a:ext>
            </a:extLst>
          </p:cNvPr>
          <p:cNvSpPr/>
          <p:nvPr/>
        </p:nvSpPr>
        <p:spPr bwMode="auto">
          <a:xfrm>
            <a:off x="-23925" y="555284"/>
            <a:ext cx="12239849" cy="1452196"/>
          </a:xfrm>
          <a:prstGeom prst="rect">
            <a:avLst/>
          </a:prstGeom>
          <a:solidFill>
            <a:schemeClr val="tx2">
              <a:lumMod val="75000"/>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7" name="TextBox 6">
            <a:extLst>
              <a:ext uri="{FF2B5EF4-FFF2-40B4-BE49-F238E27FC236}">
                <a16:creationId xmlns:a16="http://schemas.microsoft.com/office/drawing/2014/main" id="{CF6AB2DF-74BF-8748-87D8-FCFDA75C68B5}"/>
              </a:ext>
            </a:extLst>
          </p:cNvPr>
          <p:cNvSpPr txBox="1"/>
          <p:nvPr/>
        </p:nvSpPr>
        <p:spPr>
          <a:xfrm>
            <a:off x="1077166" y="948262"/>
            <a:ext cx="3422412" cy="369332"/>
          </a:xfrm>
          <a:prstGeom prst="rect">
            <a:avLst/>
          </a:prstGeom>
          <a:noFill/>
        </p:spPr>
        <p:txBody>
          <a:bodyPr wrap="none" lIns="0" tIns="0" rIns="0" bIns="0" rtlCol="0">
            <a:spAutoFit/>
          </a:bodyPr>
          <a:lstStyle/>
          <a:p>
            <a:pPr marL="0" marR="0" lvl="0" indent="0" algn="l" defTabSz="914079"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300" normalizeH="0" baseline="0" noProof="0" dirty="0">
                <a:ln>
                  <a:noFill/>
                </a:ln>
                <a:solidFill>
                  <a:srgbClr val="FFFFFF"/>
                </a:solidFill>
                <a:effectLst/>
                <a:uLnTx/>
                <a:uFillTx/>
                <a:latin typeface="Tahoma"/>
                <a:ea typeface="+mn-ea"/>
                <a:cs typeface="+mn-cs"/>
              </a:rPr>
              <a:t>Bildungsbereich 7</a:t>
            </a:r>
          </a:p>
        </p:txBody>
      </p:sp>
      <p:sp>
        <p:nvSpPr>
          <p:cNvPr id="16" name="TextBox 7">
            <a:extLst>
              <a:ext uri="{FF2B5EF4-FFF2-40B4-BE49-F238E27FC236}">
                <a16:creationId xmlns:a16="http://schemas.microsoft.com/office/drawing/2014/main" id="{21E41DE7-6C40-2048-9CAA-377D11F356EA}"/>
              </a:ext>
            </a:extLst>
          </p:cNvPr>
          <p:cNvSpPr txBox="1"/>
          <p:nvPr/>
        </p:nvSpPr>
        <p:spPr>
          <a:xfrm>
            <a:off x="1077166" y="1494956"/>
            <a:ext cx="4136966" cy="246221"/>
          </a:xfrm>
          <a:prstGeom prst="rect">
            <a:avLst/>
          </a:prstGeom>
          <a:noFill/>
        </p:spPr>
        <p:txBody>
          <a:bodyPr wrap="none" lIns="0" tIns="0" rIns="0" bIns="0" rtlCol="0">
            <a:spAutoFit/>
          </a:bodyPr>
          <a:lstStyle/>
          <a:p>
            <a:pPr defTabSz="914079">
              <a:defRPr/>
            </a:pPr>
            <a:r>
              <a:rPr lang="de-DE" sz="1600" spc="300" dirty="0">
                <a:solidFill>
                  <a:srgbClr val="FFFFFF"/>
                </a:solidFill>
                <a:latin typeface="Tahoma"/>
              </a:rPr>
              <a:t>Mathematische Bildung - </a:t>
            </a:r>
            <a:r>
              <a:rPr lang="de-DE" sz="1600" b="1" spc="300" dirty="0">
                <a:solidFill>
                  <a:srgbClr val="FFFFFF"/>
                </a:solidFill>
                <a:latin typeface="Tahoma"/>
              </a:rPr>
              <a:t>Schule</a:t>
            </a:r>
            <a:endParaRPr kumimoji="0" lang="de-DE" sz="1600" b="1" i="0" u="none" strike="noStrike" kern="1200" cap="none" spc="300" normalizeH="0" baseline="0" noProof="0" dirty="0">
              <a:ln>
                <a:noFill/>
              </a:ln>
              <a:solidFill>
                <a:srgbClr val="FFFFFF"/>
              </a:solidFill>
              <a:effectLst/>
              <a:uLnTx/>
              <a:uFillTx/>
              <a:latin typeface="Tahoma"/>
              <a:ea typeface="+mn-ea"/>
              <a:cs typeface="+mn-cs"/>
            </a:endParaRPr>
          </a:p>
        </p:txBody>
      </p:sp>
      <p:cxnSp>
        <p:nvCxnSpPr>
          <p:cNvPr id="9" name="Straight Connector 8">
            <a:extLst>
              <a:ext uri="{FF2B5EF4-FFF2-40B4-BE49-F238E27FC236}">
                <a16:creationId xmlns:a16="http://schemas.microsoft.com/office/drawing/2014/main" id="{1AAB9A71-ADAA-0949-B752-37BC01FB2424}"/>
              </a:ext>
            </a:extLst>
          </p:cNvPr>
          <p:cNvCxnSpPr>
            <a:cxnSpLocks/>
          </p:cNvCxnSpPr>
          <p:nvPr/>
        </p:nvCxnSpPr>
        <p:spPr>
          <a:xfrm>
            <a:off x="1077166" y="1365360"/>
            <a:ext cx="94598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uppieren 1">
            <a:extLst>
              <a:ext uri="{FF2B5EF4-FFF2-40B4-BE49-F238E27FC236}">
                <a16:creationId xmlns:a16="http://schemas.microsoft.com/office/drawing/2014/main" id="{3925770C-2CE1-994B-9D67-72853DB13757}"/>
              </a:ext>
            </a:extLst>
          </p:cNvPr>
          <p:cNvGrpSpPr/>
          <p:nvPr/>
        </p:nvGrpSpPr>
        <p:grpSpPr>
          <a:xfrm>
            <a:off x="257483" y="2826826"/>
            <a:ext cx="4242095" cy="2480471"/>
            <a:chOff x="257483" y="2332798"/>
            <a:chExt cx="4242095" cy="2480471"/>
          </a:xfrm>
        </p:grpSpPr>
        <p:sp>
          <p:nvSpPr>
            <p:cNvPr id="15" name="Rechteck 5">
              <a:extLst>
                <a:ext uri="{FF2B5EF4-FFF2-40B4-BE49-F238E27FC236}">
                  <a16:creationId xmlns:a16="http://schemas.microsoft.com/office/drawing/2014/main" id="{9DC30DCA-9931-9846-A3A8-850DC44B0600}"/>
                </a:ext>
              </a:extLst>
            </p:cNvPr>
            <p:cNvSpPr/>
            <p:nvPr/>
          </p:nvSpPr>
          <p:spPr bwMode="auto">
            <a:xfrm>
              <a:off x="471540" y="2489169"/>
              <a:ext cx="4028038" cy="2324100"/>
            </a:xfrm>
            <a:prstGeom prst="rect">
              <a:avLst/>
            </a:prstGeom>
            <a:solidFill>
              <a:schemeClr val="bg1"/>
            </a:solid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104372" tIns="52502" rIns="102634" bIns="52502" numCol="1" rtlCol="0" anchor="ctr" anchorCtr="0" compatLnSpc="1">
              <a:prstTxWarp prst="textNoShape">
                <a:avLst/>
              </a:prstTxWarp>
            </a:bodyPr>
            <a:lstStyle/>
            <a:p>
              <a:pPr marL="0" marR="0" lvl="0" indent="0" algn="ctr" defTabSz="995065" rtl="0" eaLnBrk="1" fontAlgn="base" latinLnBrk="0" hangingPunct="1">
                <a:lnSpc>
                  <a:spcPct val="100000"/>
                </a:lnSpc>
                <a:spcBef>
                  <a:spcPct val="0"/>
                </a:spcBef>
                <a:spcAft>
                  <a:spcPct val="0"/>
                </a:spcAft>
                <a:buClr>
                  <a:srgbClr val="FF8000"/>
                </a:buClr>
                <a:buSzPct val="75000"/>
                <a:buFontTx/>
                <a:buNone/>
                <a:tabLst/>
                <a:defRPr/>
              </a:pPr>
              <a:endParaRPr kumimoji="0" lang="de-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17" name="TextBox 187">
              <a:extLst>
                <a:ext uri="{FF2B5EF4-FFF2-40B4-BE49-F238E27FC236}">
                  <a16:creationId xmlns:a16="http://schemas.microsoft.com/office/drawing/2014/main" id="{96666B1E-58E2-D243-8427-815D34C3549F}"/>
                </a:ext>
              </a:extLst>
            </p:cNvPr>
            <p:cNvSpPr txBox="1"/>
            <p:nvPr/>
          </p:nvSpPr>
          <p:spPr>
            <a:xfrm>
              <a:off x="796378" y="2398721"/>
              <a:ext cx="1253348" cy="215444"/>
            </a:xfrm>
            <a:prstGeom prst="rect">
              <a:avLst/>
            </a:prstGeom>
            <a:solidFill>
              <a:schemeClr val="bg1"/>
            </a:solidFill>
          </p:spPr>
          <p:txBody>
            <a:bodyPr wrap="square" lIns="0" tIns="0" rIns="0" bIns="0" rtlCol="0">
              <a:spAutoFit/>
            </a:bodyPr>
            <a:lstStyle/>
            <a:p>
              <a:pPr algn="ctr" defTabSz="914079">
                <a:defRPr/>
              </a:pPr>
              <a:r>
                <a:rPr lang="de-DE" sz="1400" b="1" dirty="0">
                  <a:solidFill>
                    <a:srgbClr val="404040"/>
                  </a:solidFill>
                  <a:latin typeface="Tahoma"/>
                </a:rPr>
                <a:t>Wichtig:</a:t>
              </a:r>
            </a:p>
          </p:txBody>
        </p:sp>
        <p:sp>
          <p:nvSpPr>
            <p:cNvPr id="18" name="Oval 8">
              <a:extLst>
                <a:ext uri="{FF2B5EF4-FFF2-40B4-BE49-F238E27FC236}">
                  <a16:creationId xmlns:a16="http://schemas.microsoft.com/office/drawing/2014/main" id="{93162B3C-38D9-0E42-A025-8E7349CF2B0C}"/>
                </a:ext>
              </a:extLst>
            </p:cNvPr>
            <p:cNvSpPr/>
            <p:nvPr/>
          </p:nvSpPr>
          <p:spPr>
            <a:xfrm>
              <a:off x="257483" y="2332798"/>
              <a:ext cx="376966" cy="376966"/>
            </a:xfrm>
            <a:prstGeom prst="ellipse">
              <a:avLst/>
            </a:prstGeom>
            <a:solidFill>
              <a:srgbClr val="404040"/>
            </a:solidFill>
            <a:ln w="38100">
              <a:no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79"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FFFFFF"/>
                  </a:solidFill>
                  <a:effectLst/>
                  <a:uLnTx/>
                  <a:uFillTx/>
                  <a:latin typeface="Tahoma"/>
                  <a:ea typeface="+mn-ea"/>
                  <a:cs typeface="+mn-cs"/>
                </a:rPr>
                <a:t>7</a:t>
              </a:r>
            </a:p>
          </p:txBody>
        </p:sp>
        <p:sp>
          <p:nvSpPr>
            <p:cNvPr id="30" name="Text Placeholder 2">
              <a:extLst>
                <a:ext uri="{FF2B5EF4-FFF2-40B4-BE49-F238E27FC236}">
                  <a16:creationId xmlns:a16="http://schemas.microsoft.com/office/drawing/2014/main" id="{1F713AF2-F295-2648-8BA5-8B048E7A53C3}"/>
                </a:ext>
              </a:extLst>
            </p:cNvPr>
            <p:cNvSpPr txBox="1">
              <a:spLocks/>
            </p:cNvSpPr>
            <p:nvPr/>
          </p:nvSpPr>
          <p:spPr>
            <a:xfrm>
              <a:off x="796378" y="2897166"/>
              <a:ext cx="3512862" cy="1508105"/>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defRPr/>
              </a:pPr>
              <a:r>
                <a:rPr lang="de-DE" sz="1400" dirty="0">
                  <a:solidFill>
                    <a:schemeClr val="tx1">
                      <a:lumMod val="65000"/>
                      <a:lumOff val="35000"/>
                    </a:schemeClr>
                  </a:solidFill>
                  <a:latin typeface="Tahoma"/>
                </a:rPr>
                <a:t>Mathematik in der Grundschule ist im Lehrplan fest verankert und baut auf die Vorkenntnisse, die in Kita und Familie erworben wurden auf.</a:t>
              </a:r>
            </a:p>
            <a:p>
              <a:pPr>
                <a:lnSpc>
                  <a:spcPct val="100000"/>
                </a:lnSpc>
                <a:spcBef>
                  <a:spcPts val="0"/>
                </a:spcBef>
                <a:defRPr/>
              </a:pPr>
              <a:r>
                <a:rPr lang="de-DE" sz="1400" dirty="0">
                  <a:solidFill>
                    <a:schemeClr val="tx1">
                      <a:lumMod val="65000"/>
                      <a:lumOff val="35000"/>
                    </a:schemeClr>
                  </a:solidFill>
                  <a:latin typeface="Tahoma"/>
                </a:rPr>
                <a:t>Auch in der Grundschule geht es darum, mathematische Inhalte mit der Lebenswelt der Kinder zu verknüpfen.</a:t>
              </a:r>
            </a:p>
          </p:txBody>
        </p:sp>
      </p:grpSp>
      <p:pic>
        <p:nvPicPr>
          <p:cNvPr id="13" name="Picture 2" descr="C:\Users\nolte\Documents\Schule\Kita\Neuer Ordner\P1050761.JPG">
            <a:extLst>
              <a:ext uri="{FF2B5EF4-FFF2-40B4-BE49-F238E27FC236}">
                <a16:creationId xmlns:a16="http://schemas.microsoft.com/office/drawing/2014/main" id="{39222D55-B965-8E45-9C72-96BE6AEAA14C}"/>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a:xfrm>
            <a:off x="5053805" y="2983388"/>
            <a:ext cx="3098799" cy="2324100"/>
          </a:xfrm>
          <a:prstGeom prst="rect">
            <a:avLst/>
          </a:prstGeom>
        </p:spPr>
      </p:pic>
      <p:pic>
        <p:nvPicPr>
          <p:cNvPr id="20" name="Picture 3" descr="C:\Users\nolte\Documents\Schule\Kita\Neuer Ordner\P1050753.JPG">
            <a:extLst>
              <a:ext uri="{FF2B5EF4-FFF2-40B4-BE49-F238E27FC236}">
                <a16:creationId xmlns:a16="http://schemas.microsoft.com/office/drawing/2014/main" id="{54B09BE4-BDDC-6D49-9A36-DF75546D7588}"/>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621036" y="2983388"/>
            <a:ext cx="3099215" cy="232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804227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descr="Ein Bild, das Text, Tisch, drinnen, Schreibgerät enthält.&#10;&#10;Automatisch generierte Beschreibung">
            <a:extLst>
              <a:ext uri="{FF2B5EF4-FFF2-40B4-BE49-F238E27FC236}">
                <a16:creationId xmlns:a16="http://schemas.microsoft.com/office/drawing/2014/main" id="{09AED58D-3272-F749-83A9-91AA2AE7804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95"/>
          <a:stretch/>
        </p:blipFill>
        <p:spPr>
          <a:xfrm>
            <a:off x="-23925" y="566696"/>
            <a:ext cx="12239849" cy="1430278"/>
          </a:xfrm>
          <a:prstGeom prst="rect">
            <a:avLst/>
          </a:prstGeom>
        </p:spPr>
      </p:pic>
      <p:sp>
        <p:nvSpPr>
          <p:cNvPr id="5" name="Rectangle 21">
            <a:extLst>
              <a:ext uri="{FF2B5EF4-FFF2-40B4-BE49-F238E27FC236}">
                <a16:creationId xmlns:a16="http://schemas.microsoft.com/office/drawing/2014/main" id="{95CE66D6-3CEF-7B4E-910B-BDC92F9B8101}"/>
              </a:ext>
            </a:extLst>
          </p:cNvPr>
          <p:cNvSpPr/>
          <p:nvPr/>
        </p:nvSpPr>
        <p:spPr bwMode="auto">
          <a:xfrm>
            <a:off x="-23925" y="555284"/>
            <a:ext cx="12239849" cy="1452196"/>
          </a:xfrm>
          <a:prstGeom prst="rect">
            <a:avLst/>
          </a:prstGeom>
          <a:solidFill>
            <a:schemeClr val="accent1">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7" name="TextBox 6">
            <a:extLst>
              <a:ext uri="{FF2B5EF4-FFF2-40B4-BE49-F238E27FC236}">
                <a16:creationId xmlns:a16="http://schemas.microsoft.com/office/drawing/2014/main" id="{CF6AB2DF-74BF-8748-87D8-FCFDA75C68B5}"/>
              </a:ext>
            </a:extLst>
          </p:cNvPr>
          <p:cNvSpPr txBox="1"/>
          <p:nvPr/>
        </p:nvSpPr>
        <p:spPr>
          <a:xfrm>
            <a:off x="1077166" y="948262"/>
            <a:ext cx="3422412" cy="369332"/>
          </a:xfrm>
          <a:prstGeom prst="rect">
            <a:avLst/>
          </a:prstGeom>
          <a:noFill/>
        </p:spPr>
        <p:txBody>
          <a:bodyPr wrap="none" lIns="0" tIns="0" rIns="0" bIns="0" rtlCol="0">
            <a:spAutoFit/>
          </a:bodyPr>
          <a:lstStyle/>
          <a:p>
            <a:pPr marL="0" marR="0" lvl="0" indent="0" algn="l" defTabSz="914079"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300" normalizeH="0" baseline="0" noProof="0" dirty="0">
                <a:ln>
                  <a:noFill/>
                </a:ln>
                <a:solidFill>
                  <a:srgbClr val="FFFFFF"/>
                </a:solidFill>
                <a:effectLst/>
                <a:uLnTx/>
                <a:uFillTx/>
                <a:latin typeface="Tahoma"/>
                <a:ea typeface="+mn-ea"/>
                <a:cs typeface="+mn-cs"/>
              </a:rPr>
              <a:t>Bildungsbereich 8</a:t>
            </a:r>
          </a:p>
        </p:txBody>
      </p:sp>
      <p:sp>
        <p:nvSpPr>
          <p:cNvPr id="16" name="TextBox 7">
            <a:extLst>
              <a:ext uri="{FF2B5EF4-FFF2-40B4-BE49-F238E27FC236}">
                <a16:creationId xmlns:a16="http://schemas.microsoft.com/office/drawing/2014/main" id="{21E41DE7-6C40-2048-9CAA-377D11F356EA}"/>
              </a:ext>
            </a:extLst>
          </p:cNvPr>
          <p:cNvSpPr txBox="1"/>
          <p:nvPr/>
        </p:nvSpPr>
        <p:spPr>
          <a:xfrm>
            <a:off x="1077166" y="1494956"/>
            <a:ext cx="6132897" cy="246221"/>
          </a:xfrm>
          <a:prstGeom prst="rect">
            <a:avLst/>
          </a:prstGeom>
          <a:noFill/>
        </p:spPr>
        <p:txBody>
          <a:bodyPr wrap="none" lIns="0" tIns="0" rIns="0" bIns="0" rtlCol="0">
            <a:spAutoFit/>
          </a:bodyPr>
          <a:lstStyle/>
          <a:p>
            <a:pPr defTabSz="914079">
              <a:defRPr/>
            </a:pPr>
            <a:r>
              <a:rPr lang="de-DE" sz="1600" spc="300" dirty="0">
                <a:solidFill>
                  <a:srgbClr val="FFFFFF"/>
                </a:solidFill>
                <a:latin typeface="Tahoma"/>
              </a:rPr>
              <a:t>Naturwissenschaftlich-technische Bildung - </a:t>
            </a:r>
            <a:r>
              <a:rPr lang="de-DE" sz="1600" b="1" spc="300" dirty="0">
                <a:solidFill>
                  <a:srgbClr val="FFFFFF"/>
                </a:solidFill>
                <a:latin typeface="Tahoma"/>
              </a:rPr>
              <a:t>Kita</a:t>
            </a:r>
            <a:endParaRPr kumimoji="0" lang="de-DE" sz="1600" b="1" i="0" u="none" strike="noStrike" kern="1200" cap="none" spc="300" normalizeH="0" baseline="0" noProof="0" dirty="0">
              <a:ln>
                <a:noFill/>
              </a:ln>
              <a:solidFill>
                <a:srgbClr val="FFFFFF"/>
              </a:solidFill>
              <a:effectLst/>
              <a:uLnTx/>
              <a:uFillTx/>
              <a:latin typeface="Tahoma"/>
              <a:ea typeface="+mn-ea"/>
              <a:cs typeface="+mn-cs"/>
            </a:endParaRPr>
          </a:p>
        </p:txBody>
      </p:sp>
      <p:cxnSp>
        <p:nvCxnSpPr>
          <p:cNvPr id="9" name="Straight Connector 8">
            <a:extLst>
              <a:ext uri="{FF2B5EF4-FFF2-40B4-BE49-F238E27FC236}">
                <a16:creationId xmlns:a16="http://schemas.microsoft.com/office/drawing/2014/main" id="{1AAB9A71-ADAA-0949-B752-37BC01FB2424}"/>
              </a:ext>
            </a:extLst>
          </p:cNvPr>
          <p:cNvCxnSpPr>
            <a:cxnSpLocks/>
          </p:cNvCxnSpPr>
          <p:nvPr/>
        </p:nvCxnSpPr>
        <p:spPr>
          <a:xfrm>
            <a:off x="1077166" y="1365360"/>
            <a:ext cx="94598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uppieren 1">
            <a:extLst>
              <a:ext uri="{FF2B5EF4-FFF2-40B4-BE49-F238E27FC236}">
                <a16:creationId xmlns:a16="http://schemas.microsoft.com/office/drawing/2014/main" id="{3925770C-2CE1-994B-9D67-72853DB13757}"/>
              </a:ext>
            </a:extLst>
          </p:cNvPr>
          <p:cNvGrpSpPr/>
          <p:nvPr/>
        </p:nvGrpSpPr>
        <p:grpSpPr>
          <a:xfrm>
            <a:off x="1200522" y="4815547"/>
            <a:ext cx="4413920" cy="1078498"/>
            <a:chOff x="85658" y="2316302"/>
            <a:chExt cx="4413920" cy="1078498"/>
          </a:xfrm>
        </p:grpSpPr>
        <p:sp>
          <p:nvSpPr>
            <p:cNvPr id="15" name="Rechteck 5">
              <a:extLst>
                <a:ext uri="{FF2B5EF4-FFF2-40B4-BE49-F238E27FC236}">
                  <a16:creationId xmlns:a16="http://schemas.microsoft.com/office/drawing/2014/main" id="{9DC30DCA-9931-9846-A3A8-850DC44B0600}"/>
                </a:ext>
              </a:extLst>
            </p:cNvPr>
            <p:cNvSpPr/>
            <p:nvPr/>
          </p:nvSpPr>
          <p:spPr bwMode="auto">
            <a:xfrm>
              <a:off x="471540" y="2489169"/>
              <a:ext cx="4028038" cy="905631"/>
            </a:xfrm>
            <a:prstGeom prst="rect">
              <a:avLst/>
            </a:prstGeom>
            <a:solidFill>
              <a:schemeClr val="bg1"/>
            </a:solid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104372" tIns="52502" rIns="102634" bIns="52502" numCol="1" rtlCol="0" anchor="ctr" anchorCtr="0" compatLnSpc="1">
              <a:prstTxWarp prst="textNoShape">
                <a:avLst/>
              </a:prstTxWarp>
            </a:bodyPr>
            <a:lstStyle/>
            <a:p>
              <a:pPr marL="0" marR="0" lvl="0" indent="0" algn="ctr" defTabSz="995065" rtl="0" eaLnBrk="1" fontAlgn="base" latinLnBrk="0" hangingPunct="1">
                <a:lnSpc>
                  <a:spcPct val="100000"/>
                </a:lnSpc>
                <a:spcBef>
                  <a:spcPct val="0"/>
                </a:spcBef>
                <a:spcAft>
                  <a:spcPct val="0"/>
                </a:spcAft>
                <a:buClr>
                  <a:srgbClr val="FF8000"/>
                </a:buClr>
                <a:buSzPct val="75000"/>
                <a:buFontTx/>
                <a:buNone/>
                <a:tabLst/>
                <a:defRPr/>
              </a:pPr>
              <a:endParaRPr kumimoji="0" lang="de-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17" name="TextBox 187">
              <a:extLst>
                <a:ext uri="{FF2B5EF4-FFF2-40B4-BE49-F238E27FC236}">
                  <a16:creationId xmlns:a16="http://schemas.microsoft.com/office/drawing/2014/main" id="{96666B1E-58E2-D243-8427-815D34C3549F}"/>
                </a:ext>
              </a:extLst>
            </p:cNvPr>
            <p:cNvSpPr txBox="1"/>
            <p:nvPr/>
          </p:nvSpPr>
          <p:spPr>
            <a:xfrm>
              <a:off x="796378" y="2398721"/>
              <a:ext cx="1253348" cy="215444"/>
            </a:xfrm>
            <a:prstGeom prst="rect">
              <a:avLst/>
            </a:prstGeom>
            <a:solidFill>
              <a:schemeClr val="bg1"/>
            </a:solidFill>
          </p:spPr>
          <p:txBody>
            <a:bodyPr wrap="square" lIns="0" tIns="0" rIns="0" bIns="0" rtlCol="0">
              <a:spAutoFit/>
            </a:bodyPr>
            <a:lstStyle/>
            <a:p>
              <a:pPr algn="ctr" defTabSz="914079">
                <a:defRPr/>
              </a:pPr>
              <a:r>
                <a:rPr lang="de-DE" sz="1400" b="1" dirty="0">
                  <a:solidFill>
                    <a:srgbClr val="404040"/>
                  </a:solidFill>
                  <a:latin typeface="Tahoma"/>
                </a:rPr>
                <a:t>Beispiel:</a:t>
              </a:r>
            </a:p>
          </p:txBody>
        </p:sp>
        <p:sp>
          <p:nvSpPr>
            <p:cNvPr id="18" name="Oval 8">
              <a:extLst>
                <a:ext uri="{FF2B5EF4-FFF2-40B4-BE49-F238E27FC236}">
                  <a16:creationId xmlns:a16="http://schemas.microsoft.com/office/drawing/2014/main" id="{93162B3C-38D9-0E42-A025-8E7349CF2B0C}"/>
                </a:ext>
              </a:extLst>
            </p:cNvPr>
            <p:cNvSpPr/>
            <p:nvPr/>
          </p:nvSpPr>
          <p:spPr>
            <a:xfrm>
              <a:off x="85658" y="2316302"/>
              <a:ext cx="771763" cy="376966"/>
            </a:xfrm>
            <a:prstGeom prst="ellipse">
              <a:avLst/>
            </a:prstGeom>
            <a:solidFill>
              <a:srgbClr val="404040"/>
            </a:solidFill>
            <a:ln w="38100">
              <a:no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79" rtl="0" eaLnBrk="1" fontAlgn="auto" latinLnBrk="0" hangingPunct="1">
                <a:lnSpc>
                  <a:spcPct val="100000"/>
                </a:lnSpc>
                <a:spcBef>
                  <a:spcPts val="0"/>
                </a:spcBef>
                <a:spcAft>
                  <a:spcPts val="0"/>
                </a:spcAft>
                <a:buClrTx/>
                <a:buSzTx/>
                <a:buFontTx/>
                <a:buNone/>
                <a:tabLst/>
                <a:defRPr/>
              </a:pPr>
              <a:r>
                <a:rPr lang="de-DE" sz="1600" b="1" dirty="0">
                  <a:solidFill>
                    <a:srgbClr val="FFFFFF"/>
                  </a:solidFill>
                  <a:latin typeface="Tahoma"/>
                </a:rPr>
                <a:t>8.1</a:t>
              </a:r>
              <a:endParaRPr kumimoji="0" lang="de-DE" sz="1600" b="1"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Text Placeholder 2">
              <a:extLst>
                <a:ext uri="{FF2B5EF4-FFF2-40B4-BE49-F238E27FC236}">
                  <a16:creationId xmlns:a16="http://schemas.microsoft.com/office/drawing/2014/main" id="{1F713AF2-F295-2648-8BA5-8B048E7A53C3}"/>
                </a:ext>
              </a:extLst>
            </p:cNvPr>
            <p:cNvSpPr txBox="1">
              <a:spLocks/>
            </p:cNvSpPr>
            <p:nvPr/>
          </p:nvSpPr>
          <p:spPr>
            <a:xfrm>
              <a:off x="729128" y="2728261"/>
              <a:ext cx="3512862" cy="43088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defRPr/>
              </a:pPr>
              <a:r>
                <a:rPr lang="de-DE" sz="1400" dirty="0">
                  <a:solidFill>
                    <a:schemeClr val="tx1">
                      <a:lumMod val="65000"/>
                      <a:lumOff val="35000"/>
                    </a:schemeClr>
                  </a:solidFill>
                  <a:latin typeface="Tahoma"/>
                </a:rPr>
                <a:t>Mit Mikrofon und Fotoapparat geht es auf Entdeckertour.</a:t>
              </a:r>
            </a:p>
          </p:txBody>
        </p:sp>
      </p:grpSp>
      <p:pic>
        <p:nvPicPr>
          <p:cNvPr id="24" name="Picture 2">
            <a:extLst>
              <a:ext uri="{FF2B5EF4-FFF2-40B4-BE49-F238E27FC236}">
                <a16:creationId xmlns:a16="http://schemas.microsoft.com/office/drawing/2014/main" id="{3F281672-871D-054A-96AC-CA6C52255CC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a:xfrm>
            <a:off x="1946162" y="2266950"/>
            <a:ext cx="3094465" cy="2324100"/>
          </a:xfrm>
          <a:prstGeom prst="rect">
            <a:avLst/>
          </a:prstGeom>
        </p:spPr>
      </p:pic>
      <p:pic>
        <p:nvPicPr>
          <p:cNvPr id="26" name="Picture 3">
            <a:extLst>
              <a:ext uri="{FF2B5EF4-FFF2-40B4-BE49-F238E27FC236}">
                <a16:creationId xmlns:a16="http://schemas.microsoft.com/office/drawing/2014/main" id="{7FE634F5-623A-E243-A2BB-97A0BDFF8A1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151374" y="2266950"/>
            <a:ext cx="3107518" cy="232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8" name="Gruppieren 27">
            <a:extLst>
              <a:ext uri="{FF2B5EF4-FFF2-40B4-BE49-F238E27FC236}">
                <a16:creationId xmlns:a16="http://schemas.microsoft.com/office/drawing/2014/main" id="{7FE378CA-90F4-8D42-8AE6-9264943C2BAF}"/>
              </a:ext>
            </a:extLst>
          </p:cNvPr>
          <p:cNvGrpSpPr/>
          <p:nvPr/>
        </p:nvGrpSpPr>
        <p:grpSpPr>
          <a:xfrm>
            <a:off x="6498173" y="4815547"/>
            <a:ext cx="4413920" cy="1078498"/>
            <a:chOff x="85658" y="2316302"/>
            <a:chExt cx="4413920" cy="1078498"/>
          </a:xfrm>
        </p:grpSpPr>
        <p:sp>
          <p:nvSpPr>
            <p:cNvPr id="29" name="Rechteck 5">
              <a:extLst>
                <a:ext uri="{FF2B5EF4-FFF2-40B4-BE49-F238E27FC236}">
                  <a16:creationId xmlns:a16="http://schemas.microsoft.com/office/drawing/2014/main" id="{E7D7368B-60B9-8B4E-9350-6B004983F0A4}"/>
                </a:ext>
              </a:extLst>
            </p:cNvPr>
            <p:cNvSpPr/>
            <p:nvPr/>
          </p:nvSpPr>
          <p:spPr bwMode="auto">
            <a:xfrm>
              <a:off x="471540" y="2489169"/>
              <a:ext cx="4028038" cy="905631"/>
            </a:xfrm>
            <a:prstGeom prst="rect">
              <a:avLst/>
            </a:prstGeom>
            <a:solidFill>
              <a:schemeClr val="bg1"/>
            </a:solid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104372" tIns="52502" rIns="102634" bIns="52502" numCol="1" rtlCol="0" anchor="ctr" anchorCtr="0" compatLnSpc="1">
              <a:prstTxWarp prst="textNoShape">
                <a:avLst/>
              </a:prstTxWarp>
            </a:bodyPr>
            <a:lstStyle/>
            <a:p>
              <a:pPr marL="0" marR="0" lvl="0" indent="0" algn="ctr" defTabSz="995065" rtl="0" eaLnBrk="1" fontAlgn="base" latinLnBrk="0" hangingPunct="1">
                <a:lnSpc>
                  <a:spcPct val="100000"/>
                </a:lnSpc>
                <a:spcBef>
                  <a:spcPct val="0"/>
                </a:spcBef>
                <a:spcAft>
                  <a:spcPct val="0"/>
                </a:spcAft>
                <a:buClr>
                  <a:srgbClr val="FF8000"/>
                </a:buClr>
                <a:buSzPct val="75000"/>
                <a:buFontTx/>
                <a:buNone/>
                <a:tabLst/>
                <a:defRPr/>
              </a:pPr>
              <a:endParaRPr kumimoji="0" lang="de-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31" name="TextBox 187">
              <a:extLst>
                <a:ext uri="{FF2B5EF4-FFF2-40B4-BE49-F238E27FC236}">
                  <a16:creationId xmlns:a16="http://schemas.microsoft.com/office/drawing/2014/main" id="{57472078-40A8-B347-9043-BADBDC841C01}"/>
                </a:ext>
              </a:extLst>
            </p:cNvPr>
            <p:cNvSpPr txBox="1"/>
            <p:nvPr/>
          </p:nvSpPr>
          <p:spPr>
            <a:xfrm>
              <a:off x="796378" y="2398721"/>
              <a:ext cx="1253348" cy="215444"/>
            </a:xfrm>
            <a:prstGeom prst="rect">
              <a:avLst/>
            </a:prstGeom>
            <a:solidFill>
              <a:schemeClr val="bg1"/>
            </a:solidFill>
          </p:spPr>
          <p:txBody>
            <a:bodyPr wrap="square" lIns="0" tIns="0" rIns="0" bIns="0" rtlCol="0">
              <a:spAutoFit/>
            </a:bodyPr>
            <a:lstStyle/>
            <a:p>
              <a:pPr algn="ctr" defTabSz="914079">
                <a:defRPr/>
              </a:pPr>
              <a:r>
                <a:rPr lang="de-DE" sz="1400" b="1" dirty="0">
                  <a:solidFill>
                    <a:srgbClr val="404040"/>
                  </a:solidFill>
                  <a:latin typeface="Tahoma"/>
                </a:rPr>
                <a:t>Beispiel:</a:t>
              </a:r>
            </a:p>
          </p:txBody>
        </p:sp>
        <p:sp>
          <p:nvSpPr>
            <p:cNvPr id="32" name="Oval 8">
              <a:extLst>
                <a:ext uri="{FF2B5EF4-FFF2-40B4-BE49-F238E27FC236}">
                  <a16:creationId xmlns:a16="http://schemas.microsoft.com/office/drawing/2014/main" id="{67EFBBFF-B1BA-724D-BC51-EDE6721D4567}"/>
                </a:ext>
              </a:extLst>
            </p:cNvPr>
            <p:cNvSpPr/>
            <p:nvPr/>
          </p:nvSpPr>
          <p:spPr>
            <a:xfrm>
              <a:off x="85658" y="2316302"/>
              <a:ext cx="771763" cy="376966"/>
            </a:xfrm>
            <a:prstGeom prst="ellipse">
              <a:avLst/>
            </a:prstGeom>
            <a:solidFill>
              <a:srgbClr val="404040"/>
            </a:solidFill>
            <a:ln w="38100">
              <a:no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79" rtl="0" eaLnBrk="1" fontAlgn="auto" latinLnBrk="0" hangingPunct="1">
                <a:lnSpc>
                  <a:spcPct val="100000"/>
                </a:lnSpc>
                <a:spcBef>
                  <a:spcPts val="0"/>
                </a:spcBef>
                <a:spcAft>
                  <a:spcPts val="0"/>
                </a:spcAft>
                <a:buClrTx/>
                <a:buSzTx/>
                <a:buFontTx/>
                <a:buNone/>
                <a:tabLst/>
                <a:defRPr/>
              </a:pPr>
              <a:r>
                <a:rPr lang="de-DE" sz="1600" b="1" dirty="0">
                  <a:solidFill>
                    <a:srgbClr val="FFFFFF"/>
                  </a:solidFill>
                  <a:latin typeface="Tahoma"/>
                </a:rPr>
                <a:t>8.2</a:t>
              </a:r>
              <a:endParaRPr kumimoji="0" lang="de-DE" sz="1600" b="1" i="0" u="none" strike="noStrike" kern="1200" cap="none" spc="0" normalizeH="0" baseline="0" noProof="0" dirty="0">
                <a:ln>
                  <a:noFill/>
                </a:ln>
                <a:solidFill>
                  <a:srgbClr val="FFFFFF"/>
                </a:solidFill>
                <a:effectLst/>
                <a:uLnTx/>
                <a:uFillTx/>
                <a:latin typeface="Tahoma"/>
                <a:ea typeface="+mn-ea"/>
                <a:cs typeface="+mn-cs"/>
              </a:endParaRPr>
            </a:p>
          </p:txBody>
        </p:sp>
        <p:sp>
          <p:nvSpPr>
            <p:cNvPr id="33" name="Text Placeholder 2">
              <a:extLst>
                <a:ext uri="{FF2B5EF4-FFF2-40B4-BE49-F238E27FC236}">
                  <a16:creationId xmlns:a16="http://schemas.microsoft.com/office/drawing/2014/main" id="{E78A2F6C-389C-6342-B5E3-CE8270A4149A}"/>
                </a:ext>
              </a:extLst>
            </p:cNvPr>
            <p:cNvSpPr txBox="1">
              <a:spLocks/>
            </p:cNvSpPr>
            <p:nvPr/>
          </p:nvSpPr>
          <p:spPr>
            <a:xfrm>
              <a:off x="825756" y="2677018"/>
              <a:ext cx="3512862" cy="646331"/>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defRPr/>
              </a:pPr>
              <a:r>
                <a:rPr lang="de-DE" sz="1400" dirty="0">
                  <a:solidFill>
                    <a:schemeClr val="tx1">
                      <a:lumMod val="65000"/>
                      <a:lumOff val="35000"/>
                    </a:schemeClr>
                  </a:solidFill>
                  <a:latin typeface="Tahoma"/>
                </a:rPr>
                <a:t>Experimentieren gehört zum Entdecken der Welt dazu: </a:t>
              </a:r>
            </a:p>
            <a:p>
              <a:pPr>
                <a:lnSpc>
                  <a:spcPct val="100000"/>
                </a:lnSpc>
                <a:spcBef>
                  <a:spcPts val="0"/>
                </a:spcBef>
                <a:defRPr/>
              </a:pPr>
              <a:r>
                <a:rPr lang="de-DE" sz="1400" dirty="0">
                  <a:solidFill>
                    <a:schemeClr val="tx1">
                      <a:lumMod val="65000"/>
                      <a:lumOff val="35000"/>
                    </a:schemeClr>
                  </a:solidFill>
                  <a:latin typeface="Tahoma"/>
                </a:rPr>
                <a:t>Hier wird mit Seifenblasen experimentiert</a:t>
              </a:r>
            </a:p>
          </p:txBody>
        </p:sp>
      </p:grpSp>
    </p:spTree>
    <p:extLst>
      <p:ext uri="{BB962C8B-B14F-4D97-AF65-F5344CB8AC3E}">
        <p14:creationId xmlns:p14="http://schemas.microsoft.com/office/powerpoint/2010/main" val="19500281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descr="Ein Bild, das Text, Tisch, drinnen, Schreibgerät enthält.&#10;&#10;Automatisch generierte Beschreibung">
            <a:extLst>
              <a:ext uri="{FF2B5EF4-FFF2-40B4-BE49-F238E27FC236}">
                <a16:creationId xmlns:a16="http://schemas.microsoft.com/office/drawing/2014/main" id="{09AED58D-3272-F749-83A9-91AA2AE7804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95"/>
          <a:stretch/>
        </p:blipFill>
        <p:spPr>
          <a:xfrm>
            <a:off x="-23925" y="566696"/>
            <a:ext cx="12239849" cy="1430278"/>
          </a:xfrm>
          <a:prstGeom prst="rect">
            <a:avLst/>
          </a:prstGeom>
        </p:spPr>
      </p:pic>
      <p:sp>
        <p:nvSpPr>
          <p:cNvPr id="5" name="Rectangle 21">
            <a:extLst>
              <a:ext uri="{FF2B5EF4-FFF2-40B4-BE49-F238E27FC236}">
                <a16:creationId xmlns:a16="http://schemas.microsoft.com/office/drawing/2014/main" id="{95CE66D6-3CEF-7B4E-910B-BDC92F9B8101}"/>
              </a:ext>
            </a:extLst>
          </p:cNvPr>
          <p:cNvSpPr/>
          <p:nvPr/>
        </p:nvSpPr>
        <p:spPr bwMode="auto">
          <a:xfrm>
            <a:off x="-23925" y="555284"/>
            <a:ext cx="12239849" cy="1452196"/>
          </a:xfrm>
          <a:prstGeom prst="rect">
            <a:avLst/>
          </a:prstGeom>
          <a:solidFill>
            <a:schemeClr val="tx2">
              <a:lumMod val="75000"/>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7" name="TextBox 6">
            <a:extLst>
              <a:ext uri="{FF2B5EF4-FFF2-40B4-BE49-F238E27FC236}">
                <a16:creationId xmlns:a16="http://schemas.microsoft.com/office/drawing/2014/main" id="{CF6AB2DF-74BF-8748-87D8-FCFDA75C68B5}"/>
              </a:ext>
            </a:extLst>
          </p:cNvPr>
          <p:cNvSpPr txBox="1"/>
          <p:nvPr/>
        </p:nvSpPr>
        <p:spPr>
          <a:xfrm>
            <a:off x="1077166" y="948262"/>
            <a:ext cx="3422412" cy="369332"/>
          </a:xfrm>
          <a:prstGeom prst="rect">
            <a:avLst/>
          </a:prstGeom>
          <a:noFill/>
        </p:spPr>
        <p:txBody>
          <a:bodyPr wrap="none" lIns="0" tIns="0" rIns="0" bIns="0" rtlCol="0">
            <a:spAutoFit/>
          </a:bodyPr>
          <a:lstStyle/>
          <a:p>
            <a:pPr marL="0" marR="0" lvl="0" indent="0" algn="l" defTabSz="914079"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300" normalizeH="0" baseline="0" noProof="0" dirty="0">
                <a:ln>
                  <a:noFill/>
                </a:ln>
                <a:solidFill>
                  <a:srgbClr val="FFFFFF"/>
                </a:solidFill>
                <a:effectLst/>
                <a:uLnTx/>
                <a:uFillTx/>
                <a:latin typeface="Tahoma"/>
                <a:ea typeface="+mn-ea"/>
                <a:cs typeface="+mn-cs"/>
              </a:rPr>
              <a:t>Bildungsbereich 8</a:t>
            </a:r>
          </a:p>
        </p:txBody>
      </p:sp>
      <p:sp>
        <p:nvSpPr>
          <p:cNvPr id="16" name="TextBox 7">
            <a:extLst>
              <a:ext uri="{FF2B5EF4-FFF2-40B4-BE49-F238E27FC236}">
                <a16:creationId xmlns:a16="http://schemas.microsoft.com/office/drawing/2014/main" id="{21E41DE7-6C40-2048-9CAA-377D11F356EA}"/>
              </a:ext>
            </a:extLst>
          </p:cNvPr>
          <p:cNvSpPr txBox="1"/>
          <p:nvPr/>
        </p:nvSpPr>
        <p:spPr>
          <a:xfrm>
            <a:off x="1077166" y="1494956"/>
            <a:ext cx="6482352" cy="246221"/>
          </a:xfrm>
          <a:prstGeom prst="rect">
            <a:avLst/>
          </a:prstGeom>
          <a:noFill/>
        </p:spPr>
        <p:txBody>
          <a:bodyPr wrap="none" lIns="0" tIns="0" rIns="0" bIns="0" rtlCol="0">
            <a:spAutoFit/>
          </a:bodyPr>
          <a:lstStyle/>
          <a:p>
            <a:pPr defTabSz="914079">
              <a:defRPr/>
            </a:pPr>
            <a:r>
              <a:rPr lang="de-DE" sz="1600" spc="300" dirty="0">
                <a:solidFill>
                  <a:srgbClr val="FFFFFF"/>
                </a:solidFill>
                <a:latin typeface="Tahoma"/>
              </a:rPr>
              <a:t>Naturwissenschaftlich-technische Bildung - </a:t>
            </a:r>
            <a:r>
              <a:rPr lang="de-DE" sz="1600" b="1" spc="300" dirty="0">
                <a:solidFill>
                  <a:srgbClr val="FFFFFF"/>
                </a:solidFill>
                <a:latin typeface="Tahoma"/>
              </a:rPr>
              <a:t>Schule</a:t>
            </a:r>
          </a:p>
        </p:txBody>
      </p:sp>
      <p:cxnSp>
        <p:nvCxnSpPr>
          <p:cNvPr id="9" name="Straight Connector 8">
            <a:extLst>
              <a:ext uri="{FF2B5EF4-FFF2-40B4-BE49-F238E27FC236}">
                <a16:creationId xmlns:a16="http://schemas.microsoft.com/office/drawing/2014/main" id="{1AAB9A71-ADAA-0949-B752-37BC01FB2424}"/>
              </a:ext>
            </a:extLst>
          </p:cNvPr>
          <p:cNvCxnSpPr>
            <a:cxnSpLocks/>
          </p:cNvCxnSpPr>
          <p:nvPr/>
        </p:nvCxnSpPr>
        <p:spPr>
          <a:xfrm>
            <a:off x="1077166" y="1365360"/>
            <a:ext cx="94598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uppieren 1">
            <a:extLst>
              <a:ext uri="{FF2B5EF4-FFF2-40B4-BE49-F238E27FC236}">
                <a16:creationId xmlns:a16="http://schemas.microsoft.com/office/drawing/2014/main" id="{3925770C-2CE1-994B-9D67-72853DB13757}"/>
              </a:ext>
            </a:extLst>
          </p:cNvPr>
          <p:cNvGrpSpPr/>
          <p:nvPr/>
        </p:nvGrpSpPr>
        <p:grpSpPr>
          <a:xfrm>
            <a:off x="530751" y="3259040"/>
            <a:ext cx="4242095" cy="1787215"/>
            <a:chOff x="257483" y="2332798"/>
            <a:chExt cx="4242095" cy="1787215"/>
          </a:xfrm>
        </p:grpSpPr>
        <p:sp>
          <p:nvSpPr>
            <p:cNvPr id="15" name="Rechteck 5">
              <a:extLst>
                <a:ext uri="{FF2B5EF4-FFF2-40B4-BE49-F238E27FC236}">
                  <a16:creationId xmlns:a16="http://schemas.microsoft.com/office/drawing/2014/main" id="{9DC30DCA-9931-9846-A3A8-850DC44B0600}"/>
                </a:ext>
              </a:extLst>
            </p:cNvPr>
            <p:cNvSpPr/>
            <p:nvPr/>
          </p:nvSpPr>
          <p:spPr bwMode="auto">
            <a:xfrm>
              <a:off x="471540" y="2489169"/>
              <a:ext cx="4028038" cy="1630844"/>
            </a:xfrm>
            <a:prstGeom prst="rect">
              <a:avLst/>
            </a:prstGeom>
            <a:solidFill>
              <a:schemeClr val="bg1"/>
            </a:solid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104372" tIns="52502" rIns="102634" bIns="52502" numCol="1" rtlCol="0" anchor="ctr" anchorCtr="0" compatLnSpc="1">
              <a:prstTxWarp prst="textNoShape">
                <a:avLst/>
              </a:prstTxWarp>
            </a:bodyPr>
            <a:lstStyle/>
            <a:p>
              <a:pPr marL="0" marR="0" lvl="0" indent="0" algn="ctr" defTabSz="995065" rtl="0" eaLnBrk="1" fontAlgn="base" latinLnBrk="0" hangingPunct="1">
                <a:lnSpc>
                  <a:spcPct val="100000"/>
                </a:lnSpc>
                <a:spcBef>
                  <a:spcPct val="0"/>
                </a:spcBef>
                <a:spcAft>
                  <a:spcPct val="0"/>
                </a:spcAft>
                <a:buClr>
                  <a:srgbClr val="FF8000"/>
                </a:buClr>
                <a:buSzPct val="75000"/>
                <a:buFontTx/>
                <a:buNone/>
                <a:tabLst/>
                <a:defRPr/>
              </a:pPr>
              <a:endParaRPr kumimoji="0" lang="de-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17" name="TextBox 187">
              <a:extLst>
                <a:ext uri="{FF2B5EF4-FFF2-40B4-BE49-F238E27FC236}">
                  <a16:creationId xmlns:a16="http://schemas.microsoft.com/office/drawing/2014/main" id="{96666B1E-58E2-D243-8427-815D34C3549F}"/>
                </a:ext>
              </a:extLst>
            </p:cNvPr>
            <p:cNvSpPr txBox="1"/>
            <p:nvPr/>
          </p:nvSpPr>
          <p:spPr>
            <a:xfrm>
              <a:off x="796378" y="2398721"/>
              <a:ext cx="1253348" cy="215444"/>
            </a:xfrm>
            <a:prstGeom prst="rect">
              <a:avLst/>
            </a:prstGeom>
            <a:solidFill>
              <a:schemeClr val="bg1"/>
            </a:solidFill>
          </p:spPr>
          <p:txBody>
            <a:bodyPr wrap="square" lIns="0" tIns="0" rIns="0" bIns="0" rtlCol="0">
              <a:spAutoFit/>
            </a:bodyPr>
            <a:lstStyle/>
            <a:p>
              <a:pPr algn="ctr" defTabSz="914079">
                <a:defRPr/>
              </a:pPr>
              <a:r>
                <a:rPr lang="de-DE" sz="1400" b="1" dirty="0">
                  <a:solidFill>
                    <a:srgbClr val="404040"/>
                  </a:solidFill>
                  <a:latin typeface="Tahoma"/>
                </a:rPr>
                <a:t>Wichtig:</a:t>
              </a:r>
            </a:p>
          </p:txBody>
        </p:sp>
        <p:sp>
          <p:nvSpPr>
            <p:cNvPr id="18" name="Oval 8">
              <a:extLst>
                <a:ext uri="{FF2B5EF4-FFF2-40B4-BE49-F238E27FC236}">
                  <a16:creationId xmlns:a16="http://schemas.microsoft.com/office/drawing/2014/main" id="{93162B3C-38D9-0E42-A025-8E7349CF2B0C}"/>
                </a:ext>
              </a:extLst>
            </p:cNvPr>
            <p:cNvSpPr/>
            <p:nvPr/>
          </p:nvSpPr>
          <p:spPr>
            <a:xfrm>
              <a:off x="257483" y="2332798"/>
              <a:ext cx="376966" cy="376966"/>
            </a:xfrm>
            <a:prstGeom prst="ellipse">
              <a:avLst/>
            </a:prstGeom>
            <a:solidFill>
              <a:srgbClr val="404040"/>
            </a:solidFill>
            <a:ln w="38100">
              <a:no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79" rtl="0" eaLnBrk="1" fontAlgn="auto" latinLnBrk="0" hangingPunct="1">
                <a:lnSpc>
                  <a:spcPct val="100000"/>
                </a:lnSpc>
                <a:spcBef>
                  <a:spcPts val="0"/>
                </a:spcBef>
                <a:spcAft>
                  <a:spcPts val="0"/>
                </a:spcAft>
                <a:buClrTx/>
                <a:buSzTx/>
                <a:buFontTx/>
                <a:buNone/>
                <a:tabLst/>
                <a:defRPr/>
              </a:pPr>
              <a:r>
                <a:rPr lang="de-DE" sz="1600" b="1" dirty="0">
                  <a:solidFill>
                    <a:srgbClr val="FFFFFF"/>
                  </a:solidFill>
                  <a:latin typeface="Tahoma"/>
                </a:rPr>
                <a:t>8</a:t>
              </a:r>
              <a:endParaRPr kumimoji="0" lang="de-DE" sz="1600" b="1"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Text Placeholder 2">
              <a:extLst>
                <a:ext uri="{FF2B5EF4-FFF2-40B4-BE49-F238E27FC236}">
                  <a16:creationId xmlns:a16="http://schemas.microsoft.com/office/drawing/2014/main" id="{1F713AF2-F295-2648-8BA5-8B048E7A53C3}"/>
                </a:ext>
              </a:extLst>
            </p:cNvPr>
            <p:cNvSpPr txBox="1">
              <a:spLocks/>
            </p:cNvSpPr>
            <p:nvPr/>
          </p:nvSpPr>
          <p:spPr>
            <a:xfrm>
              <a:off x="729128" y="2738772"/>
              <a:ext cx="3512862" cy="107721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defRPr/>
              </a:pPr>
              <a:r>
                <a:rPr lang="de-DE" sz="1400" dirty="0">
                  <a:solidFill>
                    <a:schemeClr val="tx1">
                      <a:lumMod val="65000"/>
                      <a:lumOff val="35000"/>
                    </a:schemeClr>
                  </a:solidFill>
                  <a:latin typeface="Tahoma"/>
                </a:rPr>
                <a:t>Neben </a:t>
              </a:r>
              <a:r>
                <a:rPr lang="de-DE" sz="1400" dirty="0" err="1">
                  <a:solidFill>
                    <a:schemeClr val="tx1">
                      <a:lumMod val="65000"/>
                      <a:lumOff val="35000"/>
                    </a:schemeClr>
                  </a:solidFill>
                  <a:latin typeface="Tahoma"/>
                </a:rPr>
                <a:t>sachkundlichen</a:t>
              </a:r>
              <a:r>
                <a:rPr lang="de-DE" sz="1400" dirty="0">
                  <a:solidFill>
                    <a:schemeClr val="tx1">
                      <a:lumMod val="65000"/>
                      <a:lumOff val="35000"/>
                    </a:schemeClr>
                  </a:solidFill>
                  <a:latin typeface="Tahoma"/>
                </a:rPr>
                <a:t> Themen werden auch besondere Aktionen durchgeführt. z.B. Besuch des WDRs und Aufnahme einer Sendung oder die Experimentier- Arbeitsgemeinschaft</a:t>
              </a:r>
            </a:p>
          </p:txBody>
        </p:sp>
      </p:grpSp>
      <p:pic>
        <p:nvPicPr>
          <p:cNvPr id="14" name="Inhaltsplatzhalter 3">
            <a:extLst>
              <a:ext uri="{FF2B5EF4-FFF2-40B4-BE49-F238E27FC236}">
                <a16:creationId xmlns:a16="http://schemas.microsoft.com/office/drawing/2014/main" id="{E0F3894B-B1A7-9D4C-85E6-BFEC45B8D8BA}"/>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a:xfrm>
            <a:off x="8832417" y="2162065"/>
            <a:ext cx="2667969" cy="1999925"/>
          </a:xfrm>
          <a:prstGeom prst="rect">
            <a:avLst/>
          </a:prstGeom>
        </p:spPr>
      </p:pic>
      <p:pic>
        <p:nvPicPr>
          <p:cNvPr id="19" name="Picture 2" descr="C:\Users\nolte\Documents\Schule\Kita\Neuer Ordner\IMG_5187.JPG">
            <a:extLst>
              <a:ext uri="{FF2B5EF4-FFF2-40B4-BE49-F238E27FC236}">
                <a16:creationId xmlns:a16="http://schemas.microsoft.com/office/drawing/2014/main" id="{998EAEA1-7596-7242-8419-21445DDFDA48}"/>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366516" y="3130169"/>
            <a:ext cx="3008017" cy="199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3" descr="C:\Users\nolte\Documents\Schule\Kita\Neuer Ordner\IMG_5185.JPG">
            <a:extLst>
              <a:ext uri="{FF2B5EF4-FFF2-40B4-BE49-F238E27FC236}">
                <a16:creationId xmlns:a16="http://schemas.microsoft.com/office/drawing/2014/main" id="{14E6CFFC-BE64-904D-ADB8-EF98DF76C9D6}"/>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832417" y="4291379"/>
            <a:ext cx="2667174" cy="199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005878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descr="Ein Bild, das Text, Tisch, drinnen, Schreibgerät enthält.&#10;&#10;Automatisch generierte Beschreibung">
            <a:extLst>
              <a:ext uri="{FF2B5EF4-FFF2-40B4-BE49-F238E27FC236}">
                <a16:creationId xmlns:a16="http://schemas.microsoft.com/office/drawing/2014/main" id="{09AED58D-3272-F749-83A9-91AA2AE7804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95"/>
          <a:stretch/>
        </p:blipFill>
        <p:spPr>
          <a:xfrm>
            <a:off x="-23925" y="566696"/>
            <a:ext cx="12239849" cy="1430278"/>
          </a:xfrm>
          <a:prstGeom prst="rect">
            <a:avLst/>
          </a:prstGeom>
        </p:spPr>
      </p:pic>
      <p:sp>
        <p:nvSpPr>
          <p:cNvPr id="5" name="Rectangle 21">
            <a:extLst>
              <a:ext uri="{FF2B5EF4-FFF2-40B4-BE49-F238E27FC236}">
                <a16:creationId xmlns:a16="http://schemas.microsoft.com/office/drawing/2014/main" id="{95CE66D6-3CEF-7B4E-910B-BDC92F9B8101}"/>
              </a:ext>
            </a:extLst>
          </p:cNvPr>
          <p:cNvSpPr/>
          <p:nvPr/>
        </p:nvSpPr>
        <p:spPr bwMode="auto">
          <a:xfrm>
            <a:off x="-23925" y="555284"/>
            <a:ext cx="12239849" cy="1452196"/>
          </a:xfrm>
          <a:prstGeom prst="rect">
            <a:avLst/>
          </a:prstGeom>
          <a:solidFill>
            <a:schemeClr val="accent1">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7" name="TextBox 6">
            <a:extLst>
              <a:ext uri="{FF2B5EF4-FFF2-40B4-BE49-F238E27FC236}">
                <a16:creationId xmlns:a16="http://schemas.microsoft.com/office/drawing/2014/main" id="{CF6AB2DF-74BF-8748-87D8-FCFDA75C68B5}"/>
              </a:ext>
            </a:extLst>
          </p:cNvPr>
          <p:cNvSpPr txBox="1"/>
          <p:nvPr/>
        </p:nvSpPr>
        <p:spPr>
          <a:xfrm>
            <a:off x="1077166" y="948262"/>
            <a:ext cx="3422412" cy="369332"/>
          </a:xfrm>
          <a:prstGeom prst="rect">
            <a:avLst/>
          </a:prstGeom>
          <a:noFill/>
        </p:spPr>
        <p:txBody>
          <a:bodyPr wrap="none" lIns="0" tIns="0" rIns="0" bIns="0" rtlCol="0">
            <a:spAutoFit/>
          </a:bodyPr>
          <a:lstStyle/>
          <a:p>
            <a:pPr marL="0" marR="0" lvl="0" indent="0" algn="l" defTabSz="914079"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300" normalizeH="0" baseline="0" noProof="0" dirty="0">
                <a:ln>
                  <a:noFill/>
                </a:ln>
                <a:solidFill>
                  <a:srgbClr val="FFFFFF"/>
                </a:solidFill>
                <a:effectLst/>
                <a:uLnTx/>
                <a:uFillTx/>
                <a:latin typeface="Tahoma"/>
                <a:ea typeface="+mn-ea"/>
                <a:cs typeface="+mn-cs"/>
              </a:rPr>
              <a:t>Bildungsbereich 9</a:t>
            </a:r>
          </a:p>
        </p:txBody>
      </p:sp>
      <p:sp>
        <p:nvSpPr>
          <p:cNvPr id="16" name="TextBox 7">
            <a:extLst>
              <a:ext uri="{FF2B5EF4-FFF2-40B4-BE49-F238E27FC236}">
                <a16:creationId xmlns:a16="http://schemas.microsoft.com/office/drawing/2014/main" id="{21E41DE7-6C40-2048-9CAA-377D11F356EA}"/>
              </a:ext>
            </a:extLst>
          </p:cNvPr>
          <p:cNvSpPr txBox="1"/>
          <p:nvPr/>
        </p:nvSpPr>
        <p:spPr>
          <a:xfrm>
            <a:off x="1077166" y="1494956"/>
            <a:ext cx="3333670" cy="246221"/>
          </a:xfrm>
          <a:prstGeom prst="rect">
            <a:avLst/>
          </a:prstGeom>
          <a:noFill/>
        </p:spPr>
        <p:txBody>
          <a:bodyPr wrap="none" lIns="0" tIns="0" rIns="0" bIns="0" rtlCol="0">
            <a:spAutoFit/>
          </a:bodyPr>
          <a:lstStyle/>
          <a:p>
            <a:pPr defTabSz="914079">
              <a:defRPr/>
            </a:pPr>
            <a:r>
              <a:rPr lang="de-DE" sz="1600" spc="300" dirty="0">
                <a:solidFill>
                  <a:srgbClr val="FFFFFF"/>
                </a:solidFill>
                <a:latin typeface="Tahoma"/>
              </a:rPr>
              <a:t>Ökologische Bildung- </a:t>
            </a:r>
            <a:r>
              <a:rPr lang="de-DE" sz="1600" b="1" spc="300" dirty="0">
                <a:solidFill>
                  <a:srgbClr val="FFFFFF"/>
                </a:solidFill>
                <a:latin typeface="Tahoma"/>
              </a:rPr>
              <a:t>Kita</a:t>
            </a:r>
            <a:endParaRPr kumimoji="0" lang="de-DE" sz="1600" b="1" i="0" u="none" strike="noStrike" kern="1200" cap="none" spc="300" normalizeH="0" baseline="0" noProof="0" dirty="0">
              <a:ln>
                <a:noFill/>
              </a:ln>
              <a:solidFill>
                <a:srgbClr val="FFFFFF"/>
              </a:solidFill>
              <a:effectLst/>
              <a:uLnTx/>
              <a:uFillTx/>
              <a:latin typeface="Tahoma"/>
              <a:ea typeface="+mn-ea"/>
              <a:cs typeface="+mn-cs"/>
            </a:endParaRPr>
          </a:p>
        </p:txBody>
      </p:sp>
      <p:cxnSp>
        <p:nvCxnSpPr>
          <p:cNvPr id="9" name="Straight Connector 8">
            <a:extLst>
              <a:ext uri="{FF2B5EF4-FFF2-40B4-BE49-F238E27FC236}">
                <a16:creationId xmlns:a16="http://schemas.microsoft.com/office/drawing/2014/main" id="{1AAB9A71-ADAA-0949-B752-37BC01FB2424}"/>
              </a:ext>
            </a:extLst>
          </p:cNvPr>
          <p:cNvCxnSpPr>
            <a:cxnSpLocks/>
          </p:cNvCxnSpPr>
          <p:nvPr/>
        </p:nvCxnSpPr>
        <p:spPr>
          <a:xfrm>
            <a:off x="1077166" y="1365360"/>
            <a:ext cx="94598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Rechteck 5">
            <a:extLst>
              <a:ext uri="{FF2B5EF4-FFF2-40B4-BE49-F238E27FC236}">
                <a16:creationId xmlns:a16="http://schemas.microsoft.com/office/drawing/2014/main" id="{2FE52E48-25CD-4A44-9989-6E00C503A695}"/>
              </a:ext>
            </a:extLst>
          </p:cNvPr>
          <p:cNvSpPr/>
          <p:nvPr/>
        </p:nvSpPr>
        <p:spPr bwMode="auto">
          <a:xfrm>
            <a:off x="471540" y="2257941"/>
            <a:ext cx="4028038" cy="3890611"/>
          </a:xfrm>
          <a:prstGeom prst="rect">
            <a:avLst/>
          </a:prstGeom>
          <a:solidFill>
            <a:schemeClr val="bg1"/>
          </a:solid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104372" tIns="52502" rIns="102634" bIns="52502" numCol="1" rtlCol="0" anchor="ctr" anchorCtr="0" compatLnSpc="1">
            <a:prstTxWarp prst="textNoShape">
              <a:avLst/>
            </a:prstTxWarp>
          </a:bodyPr>
          <a:lstStyle/>
          <a:p>
            <a:pPr marL="0" marR="0" lvl="0" indent="0" algn="ctr" defTabSz="995065" rtl="0" eaLnBrk="1" fontAlgn="base" latinLnBrk="0" hangingPunct="1">
              <a:lnSpc>
                <a:spcPct val="100000"/>
              </a:lnSpc>
              <a:spcBef>
                <a:spcPct val="0"/>
              </a:spcBef>
              <a:spcAft>
                <a:spcPct val="0"/>
              </a:spcAft>
              <a:buClr>
                <a:srgbClr val="FF8000"/>
              </a:buClr>
              <a:buSzPct val="75000"/>
              <a:buFontTx/>
              <a:buNone/>
              <a:tabLst/>
              <a:defRPr/>
            </a:pPr>
            <a:endParaRPr kumimoji="0" lang="de-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19" name="TextBox 187">
            <a:extLst>
              <a:ext uri="{FF2B5EF4-FFF2-40B4-BE49-F238E27FC236}">
                <a16:creationId xmlns:a16="http://schemas.microsoft.com/office/drawing/2014/main" id="{DEBEA774-805B-BC42-99D4-9A6EC003CB74}"/>
              </a:ext>
            </a:extLst>
          </p:cNvPr>
          <p:cNvSpPr txBox="1"/>
          <p:nvPr/>
        </p:nvSpPr>
        <p:spPr>
          <a:xfrm>
            <a:off x="796378" y="2167494"/>
            <a:ext cx="1253348" cy="215444"/>
          </a:xfrm>
          <a:prstGeom prst="rect">
            <a:avLst/>
          </a:prstGeom>
          <a:solidFill>
            <a:schemeClr val="bg1"/>
          </a:solidFill>
        </p:spPr>
        <p:txBody>
          <a:bodyPr wrap="square" lIns="0" tIns="0" rIns="0" bIns="0" rtlCol="0">
            <a:spAutoFit/>
          </a:bodyPr>
          <a:lstStyle/>
          <a:p>
            <a:pPr algn="ctr" defTabSz="914079">
              <a:defRPr/>
            </a:pPr>
            <a:r>
              <a:rPr lang="de-DE" sz="1400" b="1" dirty="0">
                <a:solidFill>
                  <a:srgbClr val="404040"/>
                </a:solidFill>
                <a:latin typeface="Tahoma"/>
              </a:rPr>
              <a:t>Wichtig sind:</a:t>
            </a:r>
          </a:p>
        </p:txBody>
      </p:sp>
      <p:sp>
        <p:nvSpPr>
          <p:cNvPr id="21" name="Oval 8">
            <a:extLst>
              <a:ext uri="{FF2B5EF4-FFF2-40B4-BE49-F238E27FC236}">
                <a16:creationId xmlns:a16="http://schemas.microsoft.com/office/drawing/2014/main" id="{FE7160E0-00CB-3442-BA6F-3B84482F8AEA}"/>
              </a:ext>
            </a:extLst>
          </p:cNvPr>
          <p:cNvSpPr/>
          <p:nvPr/>
        </p:nvSpPr>
        <p:spPr>
          <a:xfrm>
            <a:off x="257483" y="2101571"/>
            <a:ext cx="376966" cy="376966"/>
          </a:xfrm>
          <a:prstGeom prst="ellipse">
            <a:avLst/>
          </a:prstGeom>
          <a:solidFill>
            <a:srgbClr val="404040"/>
          </a:solidFill>
          <a:ln w="38100">
            <a:no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79" rtl="0" eaLnBrk="1" fontAlgn="auto" latinLnBrk="0" hangingPunct="1">
              <a:lnSpc>
                <a:spcPct val="100000"/>
              </a:lnSpc>
              <a:spcBef>
                <a:spcPts val="0"/>
              </a:spcBef>
              <a:spcAft>
                <a:spcPts val="0"/>
              </a:spcAft>
              <a:buClrTx/>
              <a:buSzTx/>
              <a:buFontTx/>
              <a:buNone/>
              <a:tabLst/>
              <a:defRPr/>
            </a:pPr>
            <a:r>
              <a:rPr lang="de-DE" sz="1600" b="1" dirty="0">
                <a:solidFill>
                  <a:srgbClr val="FFFFFF"/>
                </a:solidFill>
                <a:latin typeface="Tahoma"/>
              </a:rPr>
              <a:t>9</a:t>
            </a:r>
            <a:endParaRPr kumimoji="0" lang="de-DE" sz="1600" b="1"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Text Placeholder 2">
            <a:extLst>
              <a:ext uri="{FF2B5EF4-FFF2-40B4-BE49-F238E27FC236}">
                <a16:creationId xmlns:a16="http://schemas.microsoft.com/office/drawing/2014/main" id="{1F713AF2-F295-2648-8BA5-8B048E7A53C3}"/>
              </a:ext>
            </a:extLst>
          </p:cNvPr>
          <p:cNvSpPr txBox="1">
            <a:spLocks/>
          </p:cNvSpPr>
          <p:nvPr/>
        </p:nvSpPr>
        <p:spPr>
          <a:xfrm>
            <a:off x="597365" y="2466329"/>
            <a:ext cx="3776387" cy="3662541"/>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defRPr/>
            </a:pPr>
            <a:r>
              <a:rPr lang="de-DE" sz="1400" dirty="0">
                <a:solidFill>
                  <a:schemeClr val="tx1">
                    <a:lumMod val="65000"/>
                    <a:lumOff val="35000"/>
                  </a:schemeClr>
                </a:solidFill>
                <a:latin typeface="Tahoma"/>
              </a:rPr>
              <a:t>Ausgiebige Aufenthalte in der Natur, Angebote wie </a:t>
            </a:r>
            <a:r>
              <a:rPr lang="de-DE" sz="1400" dirty="0" err="1">
                <a:solidFill>
                  <a:schemeClr val="tx1">
                    <a:lumMod val="65000"/>
                    <a:lumOff val="35000"/>
                  </a:schemeClr>
                </a:solidFill>
                <a:latin typeface="Tahoma"/>
              </a:rPr>
              <a:t>Waldtage</a:t>
            </a:r>
            <a:r>
              <a:rPr lang="de-DE" sz="1400" dirty="0">
                <a:solidFill>
                  <a:schemeClr val="tx1">
                    <a:lumMod val="65000"/>
                    <a:lumOff val="35000"/>
                  </a:schemeClr>
                </a:solidFill>
                <a:latin typeface="Tahoma"/>
              </a:rPr>
              <a:t> und Waldwochen, die Bewirtschaftung eines Gartens, vorgelebte und mit Kindern erarbeitete Verfahren zur Mülltrennung</a:t>
            </a:r>
          </a:p>
          <a:p>
            <a:pPr>
              <a:lnSpc>
                <a:spcPct val="100000"/>
              </a:lnSpc>
              <a:spcBef>
                <a:spcPts val="0"/>
              </a:spcBef>
              <a:defRPr/>
            </a:pPr>
            <a:r>
              <a:rPr lang="de-DE" sz="1400" dirty="0">
                <a:solidFill>
                  <a:schemeClr val="tx1">
                    <a:lumMod val="65000"/>
                    <a:lumOff val="35000"/>
                  </a:schemeClr>
                </a:solidFill>
                <a:latin typeface="Tahoma"/>
              </a:rPr>
              <a:t>Kinder sollen:</a:t>
            </a:r>
          </a:p>
          <a:p>
            <a:pPr marL="285750" indent="-252000">
              <a:lnSpc>
                <a:spcPct val="100000"/>
              </a:lnSpc>
              <a:spcBef>
                <a:spcPts val="0"/>
              </a:spcBef>
              <a:buSzPct val="100000"/>
              <a:buFont typeface="Arial" panose="020B0604020202020204" pitchFamily="34" charset="0"/>
              <a:buChar char="•"/>
              <a:defRPr/>
            </a:pPr>
            <a:r>
              <a:rPr lang="de-DE" sz="1400" dirty="0">
                <a:solidFill>
                  <a:schemeClr val="tx1">
                    <a:lumMod val="65000"/>
                    <a:lumOff val="35000"/>
                  </a:schemeClr>
                </a:solidFill>
                <a:latin typeface="Tahoma"/>
              </a:rPr>
              <a:t>Einblicke in die Zusammenhänge und gegenseitigen Abhängigkeiten der Lebensgemeinschaften der Pflanzen, Tiere und Menschen erhalten, erforschen, Schlussfolgerungen ziehen und eigene Verhaltensweisen entwickeln,</a:t>
            </a:r>
          </a:p>
          <a:p>
            <a:pPr marL="285750" indent="-252000">
              <a:lnSpc>
                <a:spcPct val="100000"/>
              </a:lnSpc>
              <a:spcBef>
                <a:spcPts val="0"/>
              </a:spcBef>
              <a:buSzPct val="100000"/>
              <a:buFont typeface="Arial" panose="020B0604020202020204" pitchFamily="34" charset="0"/>
              <a:buChar char="•"/>
              <a:defRPr/>
            </a:pPr>
            <a:r>
              <a:rPr lang="de-DE" sz="1400" dirty="0">
                <a:solidFill>
                  <a:schemeClr val="tx1">
                    <a:lumMod val="65000"/>
                    <a:lumOff val="35000"/>
                  </a:schemeClr>
                </a:solidFill>
                <a:latin typeface="Tahoma"/>
              </a:rPr>
              <a:t>den sorgsamen Umgang mit den natürlichen Ressourcen und Lebewesen einüben und erkennen, dass das eigene Handeln sich auf andere Menschen und die Umwelt auswirkt…</a:t>
            </a:r>
          </a:p>
        </p:txBody>
      </p:sp>
      <p:pic>
        <p:nvPicPr>
          <p:cNvPr id="23" name="Grafik 1" descr="C:\Dokumente und Einstellungen\Schulz-Drews\Eigene Dateien\Eigene Bilder\Foto.JPG">
            <a:extLst>
              <a:ext uri="{FF2B5EF4-FFF2-40B4-BE49-F238E27FC236}">
                <a16:creationId xmlns:a16="http://schemas.microsoft.com/office/drawing/2014/main" id="{0965ABC2-F209-7947-BADF-E5276276DF9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a:xfrm>
            <a:off x="4791924" y="2295072"/>
            <a:ext cx="2155825" cy="3816350"/>
          </a:xfrm>
          <a:prstGeom prst="rect">
            <a:avLst/>
          </a:prstGeom>
        </p:spPr>
      </p:pic>
      <p:pic>
        <p:nvPicPr>
          <p:cNvPr id="24" name="Grafik 4" descr="E:\DCIM\100DSCIM\PICT2486.JPG">
            <a:extLst>
              <a:ext uri="{FF2B5EF4-FFF2-40B4-BE49-F238E27FC236}">
                <a16:creationId xmlns:a16="http://schemas.microsoft.com/office/drawing/2014/main" id="{1D601962-6750-7A4A-B11C-D6977731CFFE}"/>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621036" y="3042247"/>
            <a:ext cx="3115794" cy="232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Grafik 3">
            <a:extLst>
              <a:ext uri="{FF2B5EF4-FFF2-40B4-BE49-F238E27FC236}">
                <a16:creationId xmlns:a16="http://schemas.microsoft.com/office/drawing/2014/main" id="{ED36FE0C-F1D6-864C-9219-90709C311F94}"/>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t="-5029" b="-5029"/>
          <a:stretch>
            <a:fillRect/>
          </a:stretch>
        </p:blipFill>
        <p:spPr bwMode="auto">
          <a:xfrm>
            <a:off x="7070017" y="2924012"/>
            <a:ext cx="1428750" cy="2558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451988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descr="Ein Bild, das Text, Tisch, drinnen, Schreibgerät enthält.&#10;&#10;Automatisch generierte Beschreibung">
            <a:extLst>
              <a:ext uri="{FF2B5EF4-FFF2-40B4-BE49-F238E27FC236}">
                <a16:creationId xmlns:a16="http://schemas.microsoft.com/office/drawing/2014/main" id="{09AED58D-3272-F749-83A9-91AA2AE7804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95"/>
          <a:stretch/>
        </p:blipFill>
        <p:spPr>
          <a:xfrm>
            <a:off x="-23925" y="566696"/>
            <a:ext cx="12239849" cy="1430278"/>
          </a:xfrm>
          <a:prstGeom prst="rect">
            <a:avLst/>
          </a:prstGeom>
        </p:spPr>
      </p:pic>
      <p:sp>
        <p:nvSpPr>
          <p:cNvPr id="5" name="Rectangle 21">
            <a:extLst>
              <a:ext uri="{FF2B5EF4-FFF2-40B4-BE49-F238E27FC236}">
                <a16:creationId xmlns:a16="http://schemas.microsoft.com/office/drawing/2014/main" id="{95CE66D6-3CEF-7B4E-910B-BDC92F9B8101}"/>
              </a:ext>
            </a:extLst>
          </p:cNvPr>
          <p:cNvSpPr/>
          <p:nvPr/>
        </p:nvSpPr>
        <p:spPr bwMode="auto">
          <a:xfrm>
            <a:off x="-23925" y="555284"/>
            <a:ext cx="12239849" cy="1452196"/>
          </a:xfrm>
          <a:prstGeom prst="rect">
            <a:avLst/>
          </a:prstGeom>
          <a:solidFill>
            <a:schemeClr val="tx2">
              <a:lumMod val="75000"/>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7" name="TextBox 6">
            <a:extLst>
              <a:ext uri="{FF2B5EF4-FFF2-40B4-BE49-F238E27FC236}">
                <a16:creationId xmlns:a16="http://schemas.microsoft.com/office/drawing/2014/main" id="{CF6AB2DF-74BF-8748-87D8-FCFDA75C68B5}"/>
              </a:ext>
            </a:extLst>
          </p:cNvPr>
          <p:cNvSpPr txBox="1"/>
          <p:nvPr/>
        </p:nvSpPr>
        <p:spPr>
          <a:xfrm>
            <a:off x="1077166" y="948262"/>
            <a:ext cx="3422412" cy="369332"/>
          </a:xfrm>
          <a:prstGeom prst="rect">
            <a:avLst/>
          </a:prstGeom>
          <a:noFill/>
        </p:spPr>
        <p:txBody>
          <a:bodyPr wrap="none" lIns="0" tIns="0" rIns="0" bIns="0" rtlCol="0">
            <a:spAutoFit/>
          </a:bodyPr>
          <a:lstStyle/>
          <a:p>
            <a:pPr marL="0" marR="0" lvl="0" indent="0" algn="l" defTabSz="914079"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300" normalizeH="0" baseline="0" noProof="0" dirty="0">
                <a:ln>
                  <a:noFill/>
                </a:ln>
                <a:solidFill>
                  <a:srgbClr val="FFFFFF"/>
                </a:solidFill>
                <a:effectLst/>
                <a:uLnTx/>
                <a:uFillTx/>
                <a:latin typeface="Tahoma"/>
                <a:ea typeface="+mn-ea"/>
                <a:cs typeface="+mn-cs"/>
              </a:rPr>
              <a:t>Bildungsbereich 9</a:t>
            </a:r>
          </a:p>
        </p:txBody>
      </p:sp>
      <p:sp>
        <p:nvSpPr>
          <p:cNvPr id="16" name="TextBox 7">
            <a:extLst>
              <a:ext uri="{FF2B5EF4-FFF2-40B4-BE49-F238E27FC236}">
                <a16:creationId xmlns:a16="http://schemas.microsoft.com/office/drawing/2014/main" id="{21E41DE7-6C40-2048-9CAA-377D11F356EA}"/>
              </a:ext>
            </a:extLst>
          </p:cNvPr>
          <p:cNvSpPr txBox="1"/>
          <p:nvPr/>
        </p:nvSpPr>
        <p:spPr>
          <a:xfrm>
            <a:off x="1077166" y="1494956"/>
            <a:ext cx="6482352" cy="246221"/>
          </a:xfrm>
          <a:prstGeom prst="rect">
            <a:avLst/>
          </a:prstGeom>
          <a:noFill/>
        </p:spPr>
        <p:txBody>
          <a:bodyPr wrap="none" lIns="0" tIns="0" rIns="0" bIns="0" rtlCol="0">
            <a:spAutoFit/>
          </a:bodyPr>
          <a:lstStyle/>
          <a:p>
            <a:pPr defTabSz="914079">
              <a:defRPr/>
            </a:pPr>
            <a:r>
              <a:rPr lang="de-DE" sz="1600" spc="300" dirty="0">
                <a:solidFill>
                  <a:srgbClr val="FFFFFF"/>
                </a:solidFill>
                <a:latin typeface="Tahoma"/>
              </a:rPr>
              <a:t>Naturwissenschaftlich-technische Bildung - </a:t>
            </a:r>
            <a:r>
              <a:rPr lang="de-DE" sz="1600" b="1" spc="300" dirty="0">
                <a:solidFill>
                  <a:srgbClr val="FFFFFF"/>
                </a:solidFill>
                <a:latin typeface="Tahoma"/>
              </a:rPr>
              <a:t>Schule</a:t>
            </a:r>
          </a:p>
        </p:txBody>
      </p:sp>
      <p:cxnSp>
        <p:nvCxnSpPr>
          <p:cNvPr id="9" name="Straight Connector 8">
            <a:extLst>
              <a:ext uri="{FF2B5EF4-FFF2-40B4-BE49-F238E27FC236}">
                <a16:creationId xmlns:a16="http://schemas.microsoft.com/office/drawing/2014/main" id="{1AAB9A71-ADAA-0949-B752-37BC01FB2424}"/>
              </a:ext>
            </a:extLst>
          </p:cNvPr>
          <p:cNvCxnSpPr>
            <a:cxnSpLocks/>
          </p:cNvCxnSpPr>
          <p:nvPr/>
        </p:nvCxnSpPr>
        <p:spPr>
          <a:xfrm>
            <a:off x="1077166" y="1365360"/>
            <a:ext cx="94598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uppieren 1">
            <a:extLst>
              <a:ext uri="{FF2B5EF4-FFF2-40B4-BE49-F238E27FC236}">
                <a16:creationId xmlns:a16="http://schemas.microsoft.com/office/drawing/2014/main" id="{3925770C-2CE1-994B-9D67-72853DB13757}"/>
              </a:ext>
            </a:extLst>
          </p:cNvPr>
          <p:cNvGrpSpPr/>
          <p:nvPr/>
        </p:nvGrpSpPr>
        <p:grpSpPr>
          <a:xfrm>
            <a:off x="530751" y="3322100"/>
            <a:ext cx="4242095" cy="1787215"/>
            <a:chOff x="257483" y="2332798"/>
            <a:chExt cx="4242095" cy="1787215"/>
          </a:xfrm>
        </p:grpSpPr>
        <p:sp>
          <p:nvSpPr>
            <p:cNvPr id="15" name="Rechteck 5">
              <a:extLst>
                <a:ext uri="{FF2B5EF4-FFF2-40B4-BE49-F238E27FC236}">
                  <a16:creationId xmlns:a16="http://schemas.microsoft.com/office/drawing/2014/main" id="{9DC30DCA-9931-9846-A3A8-850DC44B0600}"/>
                </a:ext>
              </a:extLst>
            </p:cNvPr>
            <p:cNvSpPr/>
            <p:nvPr/>
          </p:nvSpPr>
          <p:spPr bwMode="auto">
            <a:xfrm>
              <a:off x="471540" y="2489169"/>
              <a:ext cx="4028038" cy="1630844"/>
            </a:xfrm>
            <a:prstGeom prst="rect">
              <a:avLst/>
            </a:prstGeom>
            <a:solidFill>
              <a:schemeClr val="bg1"/>
            </a:solid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104372" tIns="52502" rIns="102634" bIns="52502" numCol="1" rtlCol="0" anchor="ctr" anchorCtr="0" compatLnSpc="1">
              <a:prstTxWarp prst="textNoShape">
                <a:avLst/>
              </a:prstTxWarp>
            </a:bodyPr>
            <a:lstStyle/>
            <a:p>
              <a:pPr marL="0" marR="0" lvl="0" indent="0" algn="ctr" defTabSz="995065" rtl="0" eaLnBrk="1" fontAlgn="base" latinLnBrk="0" hangingPunct="1">
                <a:lnSpc>
                  <a:spcPct val="100000"/>
                </a:lnSpc>
                <a:spcBef>
                  <a:spcPct val="0"/>
                </a:spcBef>
                <a:spcAft>
                  <a:spcPct val="0"/>
                </a:spcAft>
                <a:buClr>
                  <a:srgbClr val="FF8000"/>
                </a:buClr>
                <a:buSzPct val="75000"/>
                <a:buFontTx/>
                <a:buNone/>
                <a:tabLst/>
                <a:defRPr/>
              </a:pPr>
              <a:endParaRPr kumimoji="0" lang="de-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17" name="TextBox 187">
              <a:extLst>
                <a:ext uri="{FF2B5EF4-FFF2-40B4-BE49-F238E27FC236}">
                  <a16:creationId xmlns:a16="http://schemas.microsoft.com/office/drawing/2014/main" id="{96666B1E-58E2-D243-8427-815D34C3549F}"/>
                </a:ext>
              </a:extLst>
            </p:cNvPr>
            <p:cNvSpPr txBox="1"/>
            <p:nvPr/>
          </p:nvSpPr>
          <p:spPr>
            <a:xfrm>
              <a:off x="796378" y="2398721"/>
              <a:ext cx="1253348" cy="215444"/>
            </a:xfrm>
            <a:prstGeom prst="rect">
              <a:avLst/>
            </a:prstGeom>
            <a:solidFill>
              <a:schemeClr val="bg1"/>
            </a:solidFill>
          </p:spPr>
          <p:txBody>
            <a:bodyPr wrap="square" lIns="0" tIns="0" rIns="0" bIns="0" rtlCol="0">
              <a:spAutoFit/>
            </a:bodyPr>
            <a:lstStyle/>
            <a:p>
              <a:pPr algn="ctr" defTabSz="914079">
                <a:defRPr/>
              </a:pPr>
              <a:r>
                <a:rPr lang="de-DE" sz="1400" b="1" dirty="0">
                  <a:solidFill>
                    <a:srgbClr val="404040"/>
                  </a:solidFill>
                  <a:latin typeface="Tahoma"/>
                </a:rPr>
                <a:t>Beispiele:</a:t>
              </a:r>
            </a:p>
          </p:txBody>
        </p:sp>
        <p:sp>
          <p:nvSpPr>
            <p:cNvPr id="18" name="Oval 8">
              <a:extLst>
                <a:ext uri="{FF2B5EF4-FFF2-40B4-BE49-F238E27FC236}">
                  <a16:creationId xmlns:a16="http://schemas.microsoft.com/office/drawing/2014/main" id="{93162B3C-38D9-0E42-A025-8E7349CF2B0C}"/>
                </a:ext>
              </a:extLst>
            </p:cNvPr>
            <p:cNvSpPr/>
            <p:nvPr/>
          </p:nvSpPr>
          <p:spPr>
            <a:xfrm>
              <a:off x="257483" y="2332798"/>
              <a:ext cx="376966" cy="376966"/>
            </a:xfrm>
            <a:prstGeom prst="ellipse">
              <a:avLst/>
            </a:prstGeom>
            <a:solidFill>
              <a:srgbClr val="404040"/>
            </a:solidFill>
            <a:ln w="38100">
              <a:no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79"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FFFFFF"/>
                  </a:solidFill>
                  <a:effectLst/>
                  <a:uLnTx/>
                  <a:uFillTx/>
                  <a:latin typeface="Tahoma"/>
                  <a:ea typeface="+mn-ea"/>
                  <a:cs typeface="+mn-cs"/>
                </a:rPr>
                <a:t>9</a:t>
              </a:r>
            </a:p>
          </p:txBody>
        </p:sp>
        <p:sp>
          <p:nvSpPr>
            <p:cNvPr id="30" name="Text Placeholder 2">
              <a:extLst>
                <a:ext uri="{FF2B5EF4-FFF2-40B4-BE49-F238E27FC236}">
                  <a16:creationId xmlns:a16="http://schemas.microsoft.com/office/drawing/2014/main" id="{1F713AF2-F295-2648-8BA5-8B048E7A53C3}"/>
                </a:ext>
              </a:extLst>
            </p:cNvPr>
            <p:cNvSpPr txBox="1">
              <a:spLocks/>
            </p:cNvSpPr>
            <p:nvPr/>
          </p:nvSpPr>
          <p:spPr>
            <a:xfrm>
              <a:off x="729128" y="2704613"/>
              <a:ext cx="3512862" cy="1292662"/>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defRPr/>
              </a:pPr>
              <a:r>
                <a:rPr lang="de-DE" sz="1400" b="1" dirty="0">
                  <a:solidFill>
                    <a:schemeClr val="tx1">
                      <a:lumMod val="65000"/>
                      <a:lumOff val="35000"/>
                    </a:schemeClr>
                  </a:solidFill>
                  <a:latin typeface="Tahoma"/>
                </a:rPr>
                <a:t>Baumpflanzaktionen, Stadtputztage </a:t>
              </a:r>
              <a:r>
                <a:rPr lang="de-DE" sz="1400" dirty="0">
                  <a:solidFill>
                    <a:schemeClr val="tx1">
                      <a:lumMod val="65000"/>
                      <a:lumOff val="35000"/>
                    </a:schemeClr>
                  </a:solidFill>
                  <a:latin typeface="Tahoma"/>
                </a:rPr>
                <a:t>gehören ebenso zum Schulalltag wie das </a:t>
              </a:r>
              <a:r>
                <a:rPr lang="de-DE" sz="1400" b="1" dirty="0">
                  <a:solidFill>
                    <a:schemeClr val="tx1">
                      <a:lumMod val="65000"/>
                      <a:lumOff val="35000"/>
                    </a:schemeClr>
                  </a:solidFill>
                  <a:latin typeface="Tahoma"/>
                </a:rPr>
                <a:t>Sammeln von Blättern, Bestimmen von Baumarten oder Waldexkursionen </a:t>
              </a:r>
              <a:r>
                <a:rPr lang="de-DE" sz="1400" dirty="0">
                  <a:solidFill>
                    <a:schemeClr val="tx1">
                      <a:lumMod val="65000"/>
                      <a:lumOff val="35000"/>
                    </a:schemeClr>
                  </a:solidFill>
                  <a:latin typeface="Tahoma"/>
                </a:rPr>
                <a:t>mit der Biologin X. Scherz vom Umweltamt der Stadt Siegburg.</a:t>
              </a:r>
            </a:p>
          </p:txBody>
        </p:sp>
      </p:grpSp>
      <p:pic>
        <p:nvPicPr>
          <p:cNvPr id="20" name="Inhaltsplatzhalter 3">
            <a:extLst>
              <a:ext uri="{FF2B5EF4-FFF2-40B4-BE49-F238E27FC236}">
                <a16:creationId xmlns:a16="http://schemas.microsoft.com/office/drawing/2014/main" id="{E7A1488F-27D4-F443-AA0E-AEB623BD1CCC}"/>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a:xfrm>
            <a:off x="9387709" y="2631547"/>
            <a:ext cx="2346325" cy="3128962"/>
          </a:xfrm>
          <a:prstGeom prst="rect">
            <a:avLst/>
          </a:prstGeom>
        </p:spPr>
      </p:pic>
      <p:pic>
        <p:nvPicPr>
          <p:cNvPr id="24" name="Picture 2" descr="C:\Users\nolte\Documents\Schule\Kita\Neuer Ordner\P1050900.JPG">
            <a:extLst>
              <a:ext uri="{FF2B5EF4-FFF2-40B4-BE49-F238E27FC236}">
                <a16:creationId xmlns:a16="http://schemas.microsoft.com/office/drawing/2014/main" id="{457EC0C9-2417-9C4A-ABFE-CFDAED75DEF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386415" y="2960039"/>
            <a:ext cx="3387725" cy="254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740400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descr="Ein Bild, das Text, Tisch, drinnen, Schreibgerät enthält.&#10;&#10;Automatisch generierte Beschreibung">
            <a:extLst>
              <a:ext uri="{FF2B5EF4-FFF2-40B4-BE49-F238E27FC236}">
                <a16:creationId xmlns:a16="http://schemas.microsoft.com/office/drawing/2014/main" id="{09AED58D-3272-F749-83A9-91AA2AE7804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95"/>
          <a:stretch/>
        </p:blipFill>
        <p:spPr>
          <a:xfrm>
            <a:off x="-23925" y="566696"/>
            <a:ext cx="12239849" cy="1430278"/>
          </a:xfrm>
          <a:prstGeom prst="rect">
            <a:avLst/>
          </a:prstGeom>
        </p:spPr>
      </p:pic>
      <p:sp>
        <p:nvSpPr>
          <p:cNvPr id="5" name="Rectangle 21">
            <a:extLst>
              <a:ext uri="{FF2B5EF4-FFF2-40B4-BE49-F238E27FC236}">
                <a16:creationId xmlns:a16="http://schemas.microsoft.com/office/drawing/2014/main" id="{95CE66D6-3CEF-7B4E-910B-BDC92F9B8101}"/>
              </a:ext>
            </a:extLst>
          </p:cNvPr>
          <p:cNvSpPr/>
          <p:nvPr/>
        </p:nvSpPr>
        <p:spPr bwMode="auto">
          <a:xfrm>
            <a:off x="-23925" y="555284"/>
            <a:ext cx="12239849" cy="1452196"/>
          </a:xfrm>
          <a:prstGeom prst="rect">
            <a:avLst/>
          </a:prstGeom>
          <a:solidFill>
            <a:schemeClr val="accent1">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7" name="TextBox 6">
            <a:extLst>
              <a:ext uri="{FF2B5EF4-FFF2-40B4-BE49-F238E27FC236}">
                <a16:creationId xmlns:a16="http://schemas.microsoft.com/office/drawing/2014/main" id="{CF6AB2DF-74BF-8748-87D8-FCFDA75C68B5}"/>
              </a:ext>
            </a:extLst>
          </p:cNvPr>
          <p:cNvSpPr txBox="1"/>
          <p:nvPr/>
        </p:nvSpPr>
        <p:spPr>
          <a:xfrm>
            <a:off x="1077166" y="948262"/>
            <a:ext cx="3656450" cy="369332"/>
          </a:xfrm>
          <a:prstGeom prst="rect">
            <a:avLst/>
          </a:prstGeom>
          <a:noFill/>
        </p:spPr>
        <p:txBody>
          <a:bodyPr wrap="none" lIns="0" tIns="0" rIns="0" bIns="0" rtlCol="0">
            <a:spAutoFit/>
          </a:bodyPr>
          <a:lstStyle/>
          <a:p>
            <a:pPr marL="0" marR="0" lvl="0" indent="0" algn="l" defTabSz="914079"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300" normalizeH="0" baseline="0" noProof="0" dirty="0">
                <a:ln>
                  <a:noFill/>
                </a:ln>
                <a:solidFill>
                  <a:srgbClr val="FFFFFF"/>
                </a:solidFill>
                <a:effectLst/>
                <a:uLnTx/>
                <a:uFillTx/>
                <a:latin typeface="Tahoma"/>
                <a:ea typeface="+mn-ea"/>
                <a:cs typeface="+mn-cs"/>
              </a:rPr>
              <a:t>Bildungsbereich 10</a:t>
            </a:r>
          </a:p>
        </p:txBody>
      </p:sp>
      <p:sp>
        <p:nvSpPr>
          <p:cNvPr id="16" name="TextBox 7">
            <a:extLst>
              <a:ext uri="{FF2B5EF4-FFF2-40B4-BE49-F238E27FC236}">
                <a16:creationId xmlns:a16="http://schemas.microsoft.com/office/drawing/2014/main" id="{21E41DE7-6C40-2048-9CAA-377D11F356EA}"/>
              </a:ext>
            </a:extLst>
          </p:cNvPr>
          <p:cNvSpPr txBox="1"/>
          <p:nvPr/>
        </p:nvSpPr>
        <p:spPr>
          <a:xfrm>
            <a:off x="1077166" y="1494956"/>
            <a:ext cx="1764907" cy="246221"/>
          </a:xfrm>
          <a:prstGeom prst="rect">
            <a:avLst/>
          </a:prstGeom>
          <a:noFill/>
        </p:spPr>
        <p:txBody>
          <a:bodyPr wrap="none" lIns="0" tIns="0" rIns="0" bIns="0" rtlCol="0">
            <a:spAutoFit/>
          </a:bodyPr>
          <a:lstStyle/>
          <a:p>
            <a:pPr defTabSz="914079">
              <a:defRPr/>
            </a:pPr>
            <a:r>
              <a:rPr lang="de-DE" sz="1600" spc="300" dirty="0">
                <a:solidFill>
                  <a:srgbClr val="FFFFFF"/>
                </a:solidFill>
                <a:latin typeface="Tahoma"/>
              </a:rPr>
              <a:t>Medien - </a:t>
            </a:r>
            <a:r>
              <a:rPr lang="de-DE" sz="1600" b="1" spc="300" dirty="0">
                <a:solidFill>
                  <a:srgbClr val="FFFFFF"/>
                </a:solidFill>
                <a:latin typeface="Tahoma"/>
              </a:rPr>
              <a:t>Kita</a:t>
            </a:r>
            <a:endParaRPr kumimoji="0" lang="de-DE" sz="1600" b="1" i="0" u="none" strike="noStrike" kern="1200" cap="none" spc="300" normalizeH="0" baseline="0" noProof="0" dirty="0">
              <a:ln>
                <a:noFill/>
              </a:ln>
              <a:solidFill>
                <a:srgbClr val="FFFFFF"/>
              </a:solidFill>
              <a:effectLst/>
              <a:uLnTx/>
              <a:uFillTx/>
              <a:latin typeface="Tahoma"/>
              <a:ea typeface="+mn-ea"/>
              <a:cs typeface="+mn-cs"/>
            </a:endParaRPr>
          </a:p>
        </p:txBody>
      </p:sp>
      <p:cxnSp>
        <p:nvCxnSpPr>
          <p:cNvPr id="9" name="Straight Connector 8">
            <a:extLst>
              <a:ext uri="{FF2B5EF4-FFF2-40B4-BE49-F238E27FC236}">
                <a16:creationId xmlns:a16="http://schemas.microsoft.com/office/drawing/2014/main" id="{1AAB9A71-ADAA-0949-B752-37BC01FB2424}"/>
              </a:ext>
            </a:extLst>
          </p:cNvPr>
          <p:cNvCxnSpPr>
            <a:cxnSpLocks/>
          </p:cNvCxnSpPr>
          <p:nvPr/>
        </p:nvCxnSpPr>
        <p:spPr>
          <a:xfrm>
            <a:off x="1077166" y="1365360"/>
            <a:ext cx="94598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 name="Gruppieren 2">
            <a:extLst>
              <a:ext uri="{FF2B5EF4-FFF2-40B4-BE49-F238E27FC236}">
                <a16:creationId xmlns:a16="http://schemas.microsoft.com/office/drawing/2014/main" id="{AC1D20FB-10AC-354A-B282-FDB049C67822}"/>
              </a:ext>
            </a:extLst>
          </p:cNvPr>
          <p:cNvGrpSpPr/>
          <p:nvPr/>
        </p:nvGrpSpPr>
        <p:grpSpPr>
          <a:xfrm>
            <a:off x="202523" y="2652877"/>
            <a:ext cx="4339096" cy="2839763"/>
            <a:chOff x="160482" y="2772760"/>
            <a:chExt cx="4339096" cy="2839763"/>
          </a:xfrm>
        </p:grpSpPr>
        <p:sp>
          <p:nvSpPr>
            <p:cNvPr id="15" name="Rechteck 5">
              <a:extLst>
                <a:ext uri="{FF2B5EF4-FFF2-40B4-BE49-F238E27FC236}">
                  <a16:creationId xmlns:a16="http://schemas.microsoft.com/office/drawing/2014/main" id="{9DC30DCA-9931-9846-A3A8-850DC44B0600}"/>
                </a:ext>
              </a:extLst>
            </p:cNvPr>
            <p:cNvSpPr/>
            <p:nvPr/>
          </p:nvSpPr>
          <p:spPr bwMode="auto">
            <a:xfrm>
              <a:off x="471540" y="2983196"/>
              <a:ext cx="4028038" cy="2629327"/>
            </a:xfrm>
            <a:prstGeom prst="rect">
              <a:avLst/>
            </a:prstGeom>
            <a:solidFill>
              <a:schemeClr val="bg1"/>
            </a:solid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104372" tIns="52502" rIns="102634" bIns="52502" numCol="1" rtlCol="0" anchor="ctr" anchorCtr="0" compatLnSpc="1">
              <a:prstTxWarp prst="textNoShape">
                <a:avLst/>
              </a:prstTxWarp>
            </a:bodyPr>
            <a:lstStyle/>
            <a:p>
              <a:pPr marL="0" marR="0" lvl="0" indent="0" algn="ctr" defTabSz="995065" rtl="0" eaLnBrk="1" fontAlgn="base" latinLnBrk="0" hangingPunct="1">
                <a:lnSpc>
                  <a:spcPct val="100000"/>
                </a:lnSpc>
                <a:spcBef>
                  <a:spcPct val="0"/>
                </a:spcBef>
                <a:spcAft>
                  <a:spcPct val="0"/>
                </a:spcAft>
                <a:buClr>
                  <a:srgbClr val="FF8000"/>
                </a:buClr>
                <a:buSzPct val="75000"/>
                <a:buFontTx/>
                <a:buNone/>
                <a:tabLst/>
                <a:defRPr/>
              </a:pPr>
              <a:endParaRPr kumimoji="0" lang="de-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17" name="TextBox 187">
              <a:extLst>
                <a:ext uri="{FF2B5EF4-FFF2-40B4-BE49-F238E27FC236}">
                  <a16:creationId xmlns:a16="http://schemas.microsoft.com/office/drawing/2014/main" id="{96666B1E-58E2-D243-8427-815D34C3549F}"/>
                </a:ext>
              </a:extLst>
            </p:cNvPr>
            <p:cNvSpPr txBox="1"/>
            <p:nvPr/>
          </p:nvSpPr>
          <p:spPr>
            <a:xfrm>
              <a:off x="796378" y="2892749"/>
              <a:ext cx="1253348" cy="215444"/>
            </a:xfrm>
            <a:prstGeom prst="rect">
              <a:avLst/>
            </a:prstGeom>
            <a:solidFill>
              <a:schemeClr val="bg1"/>
            </a:solidFill>
          </p:spPr>
          <p:txBody>
            <a:bodyPr wrap="square" lIns="0" tIns="0" rIns="0" bIns="0" rtlCol="0">
              <a:spAutoFit/>
            </a:bodyPr>
            <a:lstStyle/>
            <a:p>
              <a:pPr algn="ctr" defTabSz="914079">
                <a:defRPr/>
              </a:pPr>
              <a:r>
                <a:rPr lang="de-DE" sz="1400" b="1" dirty="0">
                  <a:solidFill>
                    <a:srgbClr val="404040"/>
                  </a:solidFill>
                  <a:latin typeface="Tahoma"/>
                </a:rPr>
                <a:t>Wichtig:</a:t>
              </a:r>
            </a:p>
          </p:txBody>
        </p:sp>
        <p:sp>
          <p:nvSpPr>
            <p:cNvPr id="18" name="Oval 8">
              <a:extLst>
                <a:ext uri="{FF2B5EF4-FFF2-40B4-BE49-F238E27FC236}">
                  <a16:creationId xmlns:a16="http://schemas.microsoft.com/office/drawing/2014/main" id="{93162B3C-38D9-0E42-A025-8E7349CF2B0C}"/>
                </a:ext>
              </a:extLst>
            </p:cNvPr>
            <p:cNvSpPr/>
            <p:nvPr/>
          </p:nvSpPr>
          <p:spPr>
            <a:xfrm>
              <a:off x="160482" y="2772760"/>
              <a:ext cx="635896" cy="420871"/>
            </a:xfrm>
            <a:prstGeom prst="ellipse">
              <a:avLst/>
            </a:prstGeom>
            <a:solidFill>
              <a:srgbClr val="404040"/>
            </a:solidFill>
            <a:ln w="38100">
              <a:no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79" rtl="0" eaLnBrk="1" fontAlgn="auto" latinLnBrk="0" hangingPunct="1">
                <a:lnSpc>
                  <a:spcPct val="100000"/>
                </a:lnSpc>
                <a:spcBef>
                  <a:spcPts val="0"/>
                </a:spcBef>
                <a:spcAft>
                  <a:spcPts val="0"/>
                </a:spcAft>
                <a:buClrTx/>
                <a:buSzTx/>
                <a:buFontTx/>
                <a:buNone/>
                <a:tabLst/>
                <a:defRPr/>
              </a:pPr>
              <a:r>
                <a:rPr lang="de-DE" sz="1600" b="1" dirty="0">
                  <a:solidFill>
                    <a:srgbClr val="FFFFFF"/>
                  </a:solidFill>
                  <a:latin typeface="Tahoma"/>
                </a:rPr>
                <a:t>10</a:t>
              </a:r>
              <a:endParaRPr kumimoji="0" lang="de-DE" sz="1600" b="1"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Text Placeholder 2">
              <a:extLst>
                <a:ext uri="{FF2B5EF4-FFF2-40B4-BE49-F238E27FC236}">
                  <a16:creationId xmlns:a16="http://schemas.microsoft.com/office/drawing/2014/main" id="{1F713AF2-F295-2648-8BA5-8B048E7A53C3}"/>
                </a:ext>
              </a:extLst>
            </p:cNvPr>
            <p:cNvSpPr txBox="1">
              <a:spLocks/>
            </p:cNvSpPr>
            <p:nvPr/>
          </p:nvSpPr>
          <p:spPr>
            <a:xfrm>
              <a:off x="891547" y="3147854"/>
              <a:ext cx="3512862" cy="2369880"/>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defRPr/>
              </a:pPr>
              <a:r>
                <a:rPr lang="de-DE" sz="1400" dirty="0">
                  <a:solidFill>
                    <a:schemeClr val="tx1">
                      <a:lumMod val="65000"/>
                      <a:lumOff val="35000"/>
                    </a:schemeClr>
                  </a:solidFill>
                  <a:latin typeface="Tahoma"/>
                </a:rPr>
                <a:t>Über Medien erschließen Kinder sich Bildungswelten und Erfahrungsräume. </a:t>
              </a:r>
            </a:p>
            <a:p>
              <a:pPr>
                <a:lnSpc>
                  <a:spcPct val="100000"/>
                </a:lnSpc>
                <a:spcBef>
                  <a:spcPts val="0"/>
                </a:spcBef>
                <a:defRPr/>
              </a:pPr>
              <a:r>
                <a:rPr lang="de-DE" sz="1400" dirty="0">
                  <a:solidFill>
                    <a:schemeClr val="tx1">
                      <a:lumMod val="65000"/>
                      <a:lumOff val="35000"/>
                    </a:schemeClr>
                  </a:solidFill>
                  <a:latin typeface="Tahoma"/>
                </a:rPr>
                <a:t>Ziel unserer Medienerziehung  ist die Stärkung der Fähigkeiten von Kindern im Umgang mit sehr vielen Medien. Die Kinder sind zum  bewussten, zielgerichteten und zum kreativen Einsatz , und durchaus auch zur kritischen Nutzung von Medien fähig . Umsetzung: Umgang mit digitaler Kamera, u.a. Bilderbüchern, Computer, </a:t>
              </a:r>
              <a:r>
                <a:rPr lang="de-DE" sz="1400" dirty="0" err="1">
                  <a:solidFill>
                    <a:schemeClr val="tx1">
                      <a:lumMod val="65000"/>
                      <a:lumOff val="35000"/>
                    </a:schemeClr>
                  </a:solidFill>
                  <a:latin typeface="Tahoma"/>
                </a:rPr>
                <a:t>TipToy</a:t>
              </a:r>
              <a:r>
                <a:rPr lang="de-DE" sz="1400" dirty="0">
                  <a:solidFill>
                    <a:schemeClr val="tx1">
                      <a:lumMod val="65000"/>
                      <a:lumOff val="35000"/>
                    </a:schemeClr>
                  </a:solidFill>
                  <a:latin typeface="Tahoma"/>
                </a:rPr>
                <a:t>, unterschiedliche Lichtquellen ... </a:t>
              </a:r>
            </a:p>
          </p:txBody>
        </p:sp>
      </p:grpSp>
      <p:pic>
        <p:nvPicPr>
          <p:cNvPr id="14" name="Picture 2" descr="F:\Sicherung April 14\Kitas\PPP Kita 14\Juni 14\Waldwichtel Medien.JPG">
            <a:extLst>
              <a:ext uri="{FF2B5EF4-FFF2-40B4-BE49-F238E27FC236}">
                <a16:creationId xmlns:a16="http://schemas.microsoft.com/office/drawing/2014/main" id="{8F988F3A-29F1-A041-B772-FE8BE4E7AA9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a:xfrm>
            <a:off x="8832417" y="4312633"/>
            <a:ext cx="2668684" cy="1999925"/>
          </a:xfrm>
          <a:prstGeom prst="rect">
            <a:avLst/>
          </a:prstGeom>
        </p:spPr>
      </p:pic>
      <p:pic>
        <p:nvPicPr>
          <p:cNvPr id="19" name="Picture 3" descr="F:\Sicherung April 14\Kitas\PPP Kita 14\Juni 14\CIMG1982.JPG">
            <a:extLst>
              <a:ext uri="{FF2B5EF4-FFF2-40B4-BE49-F238E27FC236}">
                <a16:creationId xmlns:a16="http://schemas.microsoft.com/office/drawing/2014/main" id="{049BC951-654F-A841-A461-1DF240CDDDD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564918" y="2922127"/>
            <a:ext cx="2475784" cy="2475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7" descr="Medien2">
            <a:extLst>
              <a:ext uri="{FF2B5EF4-FFF2-40B4-BE49-F238E27FC236}">
                <a16:creationId xmlns:a16="http://schemas.microsoft.com/office/drawing/2014/main" id="{36BC8BCB-A5D8-7743-AACC-0AD0BEFA7137}"/>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832417" y="2160094"/>
            <a:ext cx="2668201" cy="199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874448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2" descr="medien Stallberg">
            <a:extLst>
              <a:ext uri="{FF2B5EF4-FFF2-40B4-BE49-F238E27FC236}">
                <a16:creationId xmlns:a16="http://schemas.microsoft.com/office/drawing/2014/main" id="{FC3DBC24-4B94-E54A-A325-C4A797A09A6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420308" y="4312633"/>
            <a:ext cx="3538457" cy="199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13" descr="Stallberg medien">
            <a:extLst>
              <a:ext uri="{FF2B5EF4-FFF2-40B4-BE49-F238E27FC236}">
                <a16:creationId xmlns:a16="http://schemas.microsoft.com/office/drawing/2014/main" id="{76C09AF7-D23C-5F4E-AA88-40F4ADD8AABC}"/>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420922" y="2158459"/>
            <a:ext cx="3537230" cy="199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Grafik 24" descr="Ein Bild, das Text, Tisch, drinnen, Schreibgerät enthält.&#10;&#10;Automatisch generierte Beschreibung">
            <a:extLst>
              <a:ext uri="{FF2B5EF4-FFF2-40B4-BE49-F238E27FC236}">
                <a16:creationId xmlns:a16="http://schemas.microsoft.com/office/drawing/2014/main" id="{09AED58D-3272-F749-83A9-91AA2AE7804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195"/>
          <a:stretch/>
        </p:blipFill>
        <p:spPr>
          <a:xfrm>
            <a:off x="-23925" y="566696"/>
            <a:ext cx="12239849" cy="1430278"/>
          </a:xfrm>
          <a:prstGeom prst="rect">
            <a:avLst/>
          </a:prstGeom>
        </p:spPr>
      </p:pic>
      <p:sp>
        <p:nvSpPr>
          <p:cNvPr id="5" name="Rectangle 21">
            <a:extLst>
              <a:ext uri="{FF2B5EF4-FFF2-40B4-BE49-F238E27FC236}">
                <a16:creationId xmlns:a16="http://schemas.microsoft.com/office/drawing/2014/main" id="{95CE66D6-3CEF-7B4E-910B-BDC92F9B8101}"/>
              </a:ext>
            </a:extLst>
          </p:cNvPr>
          <p:cNvSpPr/>
          <p:nvPr/>
        </p:nvSpPr>
        <p:spPr bwMode="auto">
          <a:xfrm>
            <a:off x="-23925" y="555284"/>
            <a:ext cx="12239849" cy="1452196"/>
          </a:xfrm>
          <a:prstGeom prst="rect">
            <a:avLst/>
          </a:prstGeom>
          <a:solidFill>
            <a:schemeClr val="tx2">
              <a:lumMod val="75000"/>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7" name="TextBox 6">
            <a:extLst>
              <a:ext uri="{FF2B5EF4-FFF2-40B4-BE49-F238E27FC236}">
                <a16:creationId xmlns:a16="http://schemas.microsoft.com/office/drawing/2014/main" id="{CF6AB2DF-74BF-8748-87D8-FCFDA75C68B5}"/>
              </a:ext>
            </a:extLst>
          </p:cNvPr>
          <p:cNvSpPr txBox="1"/>
          <p:nvPr/>
        </p:nvSpPr>
        <p:spPr>
          <a:xfrm>
            <a:off x="1077166" y="948262"/>
            <a:ext cx="3656450" cy="369332"/>
          </a:xfrm>
          <a:prstGeom prst="rect">
            <a:avLst/>
          </a:prstGeom>
          <a:noFill/>
        </p:spPr>
        <p:txBody>
          <a:bodyPr wrap="none" lIns="0" tIns="0" rIns="0" bIns="0" rtlCol="0">
            <a:spAutoFit/>
          </a:bodyPr>
          <a:lstStyle/>
          <a:p>
            <a:pPr marL="0" marR="0" lvl="0" indent="0" algn="l" defTabSz="914079"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300" normalizeH="0" baseline="0" noProof="0" dirty="0">
                <a:ln>
                  <a:noFill/>
                </a:ln>
                <a:solidFill>
                  <a:srgbClr val="FFFFFF"/>
                </a:solidFill>
                <a:effectLst/>
                <a:uLnTx/>
                <a:uFillTx/>
                <a:latin typeface="Tahoma"/>
                <a:ea typeface="+mn-ea"/>
                <a:cs typeface="+mn-cs"/>
              </a:rPr>
              <a:t>Bildungsbereich 10</a:t>
            </a:r>
          </a:p>
        </p:txBody>
      </p:sp>
      <p:sp>
        <p:nvSpPr>
          <p:cNvPr id="16" name="TextBox 7">
            <a:extLst>
              <a:ext uri="{FF2B5EF4-FFF2-40B4-BE49-F238E27FC236}">
                <a16:creationId xmlns:a16="http://schemas.microsoft.com/office/drawing/2014/main" id="{21E41DE7-6C40-2048-9CAA-377D11F356EA}"/>
              </a:ext>
            </a:extLst>
          </p:cNvPr>
          <p:cNvSpPr txBox="1"/>
          <p:nvPr/>
        </p:nvSpPr>
        <p:spPr>
          <a:xfrm>
            <a:off x="1077166" y="1494956"/>
            <a:ext cx="2114361" cy="246221"/>
          </a:xfrm>
          <a:prstGeom prst="rect">
            <a:avLst/>
          </a:prstGeom>
          <a:noFill/>
        </p:spPr>
        <p:txBody>
          <a:bodyPr wrap="none" lIns="0" tIns="0" rIns="0" bIns="0" rtlCol="0">
            <a:spAutoFit/>
          </a:bodyPr>
          <a:lstStyle/>
          <a:p>
            <a:pPr defTabSz="914079">
              <a:defRPr/>
            </a:pPr>
            <a:r>
              <a:rPr lang="de-DE" sz="1600" spc="300" dirty="0">
                <a:solidFill>
                  <a:srgbClr val="FFFFFF"/>
                </a:solidFill>
                <a:latin typeface="Tahoma"/>
              </a:rPr>
              <a:t>Medien - </a:t>
            </a:r>
            <a:r>
              <a:rPr lang="de-DE" sz="1600" b="1" spc="300" dirty="0">
                <a:solidFill>
                  <a:srgbClr val="FFFFFF"/>
                </a:solidFill>
                <a:latin typeface="Tahoma"/>
              </a:rPr>
              <a:t>Schule</a:t>
            </a:r>
            <a:endParaRPr kumimoji="0" lang="de-DE" sz="1600" b="1" i="0" u="none" strike="noStrike" kern="1200" cap="none" spc="300" normalizeH="0" baseline="0" noProof="0" dirty="0">
              <a:ln>
                <a:noFill/>
              </a:ln>
              <a:solidFill>
                <a:srgbClr val="FFFFFF"/>
              </a:solidFill>
              <a:effectLst/>
              <a:uLnTx/>
              <a:uFillTx/>
              <a:latin typeface="Tahoma"/>
              <a:ea typeface="+mn-ea"/>
              <a:cs typeface="+mn-cs"/>
            </a:endParaRPr>
          </a:p>
        </p:txBody>
      </p:sp>
      <p:cxnSp>
        <p:nvCxnSpPr>
          <p:cNvPr id="9" name="Straight Connector 8">
            <a:extLst>
              <a:ext uri="{FF2B5EF4-FFF2-40B4-BE49-F238E27FC236}">
                <a16:creationId xmlns:a16="http://schemas.microsoft.com/office/drawing/2014/main" id="{1AAB9A71-ADAA-0949-B752-37BC01FB2424}"/>
              </a:ext>
            </a:extLst>
          </p:cNvPr>
          <p:cNvCxnSpPr>
            <a:cxnSpLocks/>
          </p:cNvCxnSpPr>
          <p:nvPr/>
        </p:nvCxnSpPr>
        <p:spPr>
          <a:xfrm>
            <a:off x="1077166" y="1365360"/>
            <a:ext cx="94598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 name="Gruppieren 2">
            <a:extLst>
              <a:ext uri="{FF2B5EF4-FFF2-40B4-BE49-F238E27FC236}">
                <a16:creationId xmlns:a16="http://schemas.microsoft.com/office/drawing/2014/main" id="{AC1D20FB-10AC-354A-B282-FDB049C67822}"/>
              </a:ext>
            </a:extLst>
          </p:cNvPr>
          <p:cNvGrpSpPr/>
          <p:nvPr/>
        </p:nvGrpSpPr>
        <p:grpSpPr>
          <a:xfrm>
            <a:off x="394520" y="3330140"/>
            <a:ext cx="4339096" cy="1659757"/>
            <a:chOff x="160482" y="2772760"/>
            <a:chExt cx="4339096" cy="1659757"/>
          </a:xfrm>
        </p:grpSpPr>
        <p:sp>
          <p:nvSpPr>
            <p:cNvPr id="15" name="Rechteck 5">
              <a:extLst>
                <a:ext uri="{FF2B5EF4-FFF2-40B4-BE49-F238E27FC236}">
                  <a16:creationId xmlns:a16="http://schemas.microsoft.com/office/drawing/2014/main" id="{9DC30DCA-9931-9846-A3A8-850DC44B0600}"/>
                </a:ext>
              </a:extLst>
            </p:cNvPr>
            <p:cNvSpPr/>
            <p:nvPr/>
          </p:nvSpPr>
          <p:spPr bwMode="auto">
            <a:xfrm>
              <a:off x="471540" y="2983197"/>
              <a:ext cx="4028038" cy="1449320"/>
            </a:xfrm>
            <a:prstGeom prst="rect">
              <a:avLst/>
            </a:prstGeom>
            <a:solidFill>
              <a:schemeClr val="bg1"/>
            </a:solid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104372" tIns="52502" rIns="102634" bIns="52502" numCol="1" rtlCol="0" anchor="ctr" anchorCtr="0" compatLnSpc="1">
              <a:prstTxWarp prst="textNoShape">
                <a:avLst/>
              </a:prstTxWarp>
            </a:bodyPr>
            <a:lstStyle/>
            <a:p>
              <a:pPr marL="0" marR="0" lvl="0" indent="0" algn="ctr" defTabSz="995065" rtl="0" eaLnBrk="1" fontAlgn="base" latinLnBrk="0" hangingPunct="1">
                <a:lnSpc>
                  <a:spcPct val="100000"/>
                </a:lnSpc>
                <a:spcBef>
                  <a:spcPct val="0"/>
                </a:spcBef>
                <a:spcAft>
                  <a:spcPct val="0"/>
                </a:spcAft>
                <a:buClr>
                  <a:srgbClr val="FF8000"/>
                </a:buClr>
                <a:buSzPct val="75000"/>
                <a:buFontTx/>
                <a:buNone/>
                <a:tabLst/>
                <a:defRPr/>
              </a:pPr>
              <a:endParaRPr kumimoji="0" lang="de-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17" name="TextBox 187">
              <a:extLst>
                <a:ext uri="{FF2B5EF4-FFF2-40B4-BE49-F238E27FC236}">
                  <a16:creationId xmlns:a16="http://schemas.microsoft.com/office/drawing/2014/main" id="{96666B1E-58E2-D243-8427-815D34C3549F}"/>
                </a:ext>
              </a:extLst>
            </p:cNvPr>
            <p:cNvSpPr txBox="1"/>
            <p:nvPr/>
          </p:nvSpPr>
          <p:spPr>
            <a:xfrm>
              <a:off x="796378" y="2892749"/>
              <a:ext cx="1253348" cy="215444"/>
            </a:xfrm>
            <a:prstGeom prst="rect">
              <a:avLst/>
            </a:prstGeom>
            <a:solidFill>
              <a:schemeClr val="bg1"/>
            </a:solidFill>
          </p:spPr>
          <p:txBody>
            <a:bodyPr wrap="square" lIns="0" tIns="0" rIns="0" bIns="0" rtlCol="0">
              <a:spAutoFit/>
            </a:bodyPr>
            <a:lstStyle/>
            <a:p>
              <a:pPr algn="ctr" defTabSz="914079">
                <a:defRPr/>
              </a:pPr>
              <a:r>
                <a:rPr lang="de-DE" sz="1400" b="1" dirty="0">
                  <a:solidFill>
                    <a:srgbClr val="404040"/>
                  </a:solidFill>
                  <a:latin typeface="Tahoma"/>
                </a:rPr>
                <a:t>Wichtig:</a:t>
              </a:r>
            </a:p>
          </p:txBody>
        </p:sp>
        <p:sp>
          <p:nvSpPr>
            <p:cNvPr id="18" name="Oval 8">
              <a:extLst>
                <a:ext uri="{FF2B5EF4-FFF2-40B4-BE49-F238E27FC236}">
                  <a16:creationId xmlns:a16="http://schemas.microsoft.com/office/drawing/2014/main" id="{93162B3C-38D9-0E42-A025-8E7349CF2B0C}"/>
                </a:ext>
              </a:extLst>
            </p:cNvPr>
            <p:cNvSpPr/>
            <p:nvPr/>
          </p:nvSpPr>
          <p:spPr>
            <a:xfrm>
              <a:off x="160482" y="2772760"/>
              <a:ext cx="635896" cy="420871"/>
            </a:xfrm>
            <a:prstGeom prst="ellipse">
              <a:avLst/>
            </a:prstGeom>
            <a:solidFill>
              <a:srgbClr val="404040"/>
            </a:solidFill>
            <a:ln w="38100">
              <a:no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79" rtl="0" eaLnBrk="1" fontAlgn="auto" latinLnBrk="0" hangingPunct="1">
                <a:lnSpc>
                  <a:spcPct val="100000"/>
                </a:lnSpc>
                <a:spcBef>
                  <a:spcPts val="0"/>
                </a:spcBef>
                <a:spcAft>
                  <a:spcPts val="0"/>
                </a:spcAft>
                <a:buClrTx/>
                <a:buSzTx/>
                <a:buFontTx/>
                <a:buNone/>
                <a:tabLst/>
                <a:defRPr/>
              </a:pPr>
              <a:r>
                <a:rPr lang="de-DE" sz="1600" b="1" dirty="0">
                  <a:solidFill>
                    <a:srgbClr val="FFFFFF"/>
                  </a:solidFill>
                  <a:latin typeface="Tahoma"/>
                </a:rPr>
                <a:t>10</a:t>
              </a:r>
              <a:endParaRPr kumimoji="0" lang="de-DE" sz="1600" b="1" i="0" u="none" strike="noStrike" kern="1200" cap="none" spc="0" normalizeH="0" baseline="0" noProof="0" dirty="0">
                <a:ln>
                  <a:noFill/>
                </a:ln>
                <a:solidFill>
                  <a:srgbClr val="FFFFFF"/>
                </a:solidFill>
                <a:effectLst/>
                <a:uLnTx/>
                <a:uFillTx/>
                <a:latin typeface="Tahoma"/>
                <a:ea typeface="+mn-ea"/>
                <a:cs typeface="+mn-cs"/>
              </a:endParaRPr>
            </a:p>
          </p:txBody>
        </p:sp>
        <p:sp>
          <p:nvSpPr>
            <p:cNvPr id="30" name="Text Placeholder 2">
              <a:extLst>
                <a:ext uri="{FF2B5EF4-FFF2-40B4-BE49-F238E27FC236}">
                  <a16:creationId xmlns:a16="http://schemas.microsoft.com/office/drawing/2014/main" id="{1F713AF2-F295-2648-8BA5-8B048E7A53C3}"/>
                </a:ext>
              </a:extLst>
            </p:cNvPr>
            <p:cNvSpPr txBox="1">
              <a:spLocks/>
            </p:cNvSpPr>
            <p:nvPr/>
          </p:nvSpPr>
          <p:spPr>
            <a:xfrm>
              <a:off x="891547" y="3147854"/>
              <a:ext cx="3512862" cy="107721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defRPr/>
              </a:pPr>
              <a:r>
                <a:rPr lang="de-DE" sz="1400" dirty="0">
                  <a:solidFill>
                    <a:schemeClr val="tx1">
                      <a:lumMod val="65000"/>
                      <a:lumOff val="35000"/>
                    </a:schemeClr>
                  </a:solidFill>
                  <a:latin typeface="Tahoma"/>
                </a:rPr>
                <a:t>Neue Medien, wie z.B. die Computer oder die neuen </a:t>
              </a:r>
              <a:r>
                <a:rPr lang="de-DE" sz="1400" dirty="0" err="1">
                  <a:solidFill>
                    <a:schemeClr val="tx1">
                      <a:lumMod val="65000"/>
                      <a:lumOff val="35000"/>
                    </a:schemeClr>
                  </a:solidFill>
                  <a:latin typeface="Tahoma"/>
                </a:rPr>
                <a:t>Mimiotafeln</a:t>
              </a:r>
              <a:r>
                <a:rPr lang="de-DE" sz="1400" dirty="0">
                  <a:solidFill>
                    <a:schemeClr val="tx1">
                      <a:lumMod val="65000"/>
                      <a:lumOff val="35000"/>
                    </a:schemeClr>
                  </a:solidFill>
                  <a:latin typeface="Tahoma"/>
                </a:rPr>
                <a:t> stehen zunehmend im Vordergrund. Trotzdem ist es in der Grundschule sehr wichtig, auch das Medium Buch kennen und lieben zu lernen.</a:t>
              </a:r>
            </a:p>
          </p:txBody>
        </p:sp>
      </p:grpSp>
      <p:pic>
        <p:nvPicPr>
          <p:cNvPr id="23" name="Picture 14" descr="Stallberg medien 1">
            <a:extLst>
              <a:ext uri="{FF2B5EF4-FFF2-40B4-BE49-F238E27FC236}">
                <a16:creationId xmlns:a16="http://schemas.microsoft.com/office/drawing/2014/main" id="{12286E64-7665-F44F-9AE5-C727D69501FE}"/>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044674" y="3330140"/>
            <a:ext cx="3180098" cy="179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717530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F8E01B9D-5B0D-ED48-93FD-8B9F129C122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179"/>
          <a:stretch/>
        </p:blipFill>
        <p:spPr>
          <a:xfrm>
            <a:off x="-23924" y="220711"/>
            <a:ext cx="12384090" cy="1452195"/>
          </a:xfrm>
          <a:prstGeom prst="rect">
            <a:avLst/>
          </a:prstGeom>
        </p:spPr>
      </p:pic>
      <p:sp>
        <p:nvSpPr>
          <p:cNvPr id="53" name="Rectangle 21">
            <a:extLst>
              <a:ext uri="{FF2B5EF4-FFF2-40B4-BE49-F238E27FC236}">
                <a16:creationId xmlns:a16="http://schemas.microsoft.com/office/drawing/2014/main" id="{66D3B711-11C4-0A42-9372-FA79243F9672}"/>
              </a:ext>
            </a:extLst>
          </p:cNvPr>
          <p:cNvSpPr/>
          <p:nvPr/>
        </p:nvSpPr>
        <p:spPr bwMode="auto">
          <a:xfrm>
            <a:off x="-23925" y="209637"/>
            <a:ext cx="12239849" cy="1452196"/>
          </a:xfrm>
          <a:prstGeom prst="rect">
            <a:avLst/>
          </a:prstGeom>
          <a:solidFill>
            <a:schemeClr val="tx2">
              <a:lumMod val="60000"/>
              <a:lumOff val="40000"/>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2" name="Titel 1">
            <a:extLst>
              <a:ext uri="{FF2B5EF4-FFF2-40B4-BE49-F238E27FC236}">
                <a16:creationId xmlns:a16="http://schemas.microsoft.com/office/drawing/2014/main" id="{8DBD732E-255D-5641-835F-7822FEFB1A84}"/>
              </a:ext>
            </a:extLst>
          </p:cNvPr>
          <p:cNvSpPr>
            <a:spLocks noGrp="1"/>
          </p:cNvSpPr>
          <p:nvPr>
            <p:ph type="title"/>
          </p:nvPr>
        </p:nvSpPr>
        <p:spPr>
          <a:xfrm>
            <a:off x="373172" y="771272"/>
            <a:ext cx="11445656" cy="797082"/>
          </a:xfrm>
        </p:spPr>
        <p:txBody>
          <a:bodyPr/>
          <a:lstStyle/>
          <a:p>
            <a:r>
              <a:rPr lang="de-DE" dirty="0">
                <a:solidFill>
                  <a:schemeClr val="bg1"/>
                </a:solidFill>
                <a:latin typeface="Tahoma" panose="020B0604030504040204" pitchFamily="34" charset="0"/>
                <a:ea typeface="Tahoma" panose="020B0604030504040204" pitchFamily="34" charset="0"/>
                <a:cs typeface="Tahoma" panose="020B0604030504040204" pitchFamily="34" charset="0"/>
              </a:rPr>
              <a:t>Das letzte Kita-Jahr (Vorbereitung auf die Schule)</a:t>
            </a:r>
          </a:p>
        </p:txBody>
      </p:sp>
      <p:sp>
        <p:nvSpPr>
          <p:cNvPr id="3" name="Textplatzhalter 2">
            <a:extLst>
              <a:ext uri="{FF2B5EF4-FFF2-40B4-BE49-F238E27FC236}">
                <a16:creationId xmlns:a16="http://schemas.microsoft.com/office/drawing/2014/main" id="{372F9084-4CAF-5A4B-B2B8-887F658B4A98}"/>
              </a:ext>
            </a:extLst>
          </p:cNvPr>
          <p:cNvSpPr>
            <a:spLocks noGrp="1"/>
          </p:cNvSpPr>
          <p:nvPr>
            <p:ph type="body" sz="quarter" idx="10"/>
          </p:nvPr>
        </p:nvSpPr>
        <p:spPr>
          <a:xfrm>
            <a:off x="373172" y="369140"/>
            <a:ext cx="5334843" cy="314948"/>
          </a:xfrm>
        </p:spPr>
        <p:txBody>
          <a:bodyPr/>
          <a:lstStyle/>
          <a:p>
            <a:r>
              <a:rPr lang="de-DE" dirty="0">
                <a:solidFill>
                  <a:schemeClr val="bg1"/>
                </a:solidFill>
              </a:rPr>
              <a:t>KITA</a:t>
            </a:r>
          </a:p>
        </p:txBody>
      </p:sp>
      <p:grpSp>
        <p:nvGrpSpPr>
          <p:cNvPr id="35" name="Gruppieren 34">
            <a:extLst>
              <a:ext uri="{FF2B5EF4-FFF2-40B4-BE49-F238E27FC236}">
                <a16:creationId xmlns:a16="http://schemas.microsoft.com/office/drawing/2014/main" id="{F71E316C-7883-2C45-A8E5-52265394BD48}"/>
              </a:ext>
            </a:extLst>
          </p:cNvPr>
          <p:cNvGrpSpPr/>
          <p:nvPr/>
        </p:nvGrpSpPr>
        <p:grpSpPr>
          <a:xfrm>
            <a:off x="5382112" y="2313938"/>
            <a:ext cx="383575" cy="3318668"/>
            <a:chOff x="4818963" y="2170323"/>
            <a:chExt cx="383817" cy="3320759"/>
          </a:xfrm>
        </p:grpSpPr>
        <p:cxnSp>
          <p:nvCxnSpPr>
            <p:cNvPr id="36" name="Straight Connector 12">
              <a:extLst>
                <a:ext uri="{FF2B5EF4-FFF2-40B4-BE49-F238E27FC236}">
                  <a16:creationId xmlns:a16="http://schemas.microsoft.com/office/drawing/2014/main" id="{C0CE0D2F-9C6A-324C-AA54-45D6E0C7A8BA}"/>
                </a:ext>
              </a:extLst>
            </p:cNvPr>
            <p:cNvCxnSpPr>
              <a:cxnSpLocks/>
            </p:cNvCxnSpPr>
            <p:nvPr/>
          </p:nvCxnSpPr>
          <p:spPr bwMode="auto">
            <a:xfrm>
              <a:off x="4818963" y="3741668"/>
              <a:ext cx="360000" cy="0"/>
            </a:xfrm>
            <a:prstGeom prst="line">
              <a:avLst/>
            </a:prstGeom>
            <a:solidFill>
              <a:srgbClr val="FFFFFF"/>
            </a:solidFill>
            <a:ln w="19050" cap="flat" cmpd="sng" algn="ctr">
              <a:solidFill>
                <a:schemeClr val="tx2"/>
              </a:solidFill>
              <a:prstDash val="solid"/>
              <a:round/>
              <a:headEnd type="none" w="med" len="med"/>
              <a:tailEnd type="none" w="med" len="med"/>
            </a:ln>
            <a:effectLst/>
          </p:spPr>
        </p:cxnSp>
        <p:cxnSp>
          <p:nvCxnSpPr>
            <p:cNvPr id="37" name="Straight Connector 49">
              <a:extLst>
                <a:ext uri="{FF2B5EF4-FFF2-40B4-BE49-F238E27FC236}">
                  <a16:creationId xmlns:a16="http://schemas.microsoft.com/office/drawing/2014/main" id="{545E32B8-D236-9949-A410-0E19F69635AB}"/>
                </a:ext>
              </a:extLst>
            </p:cNvPr>
            <p:cNvCxnSpPr>
              <a:cxnSpLocks/>
            </p:cNvCxnSpPr>
            <p:nvPr/>
          </p:nvCxnSpPr>
          <p:spPr bwMode="auto">
            <a:xfrm>
              <a:off x="5202780" y="2170323"/>
              <a:ext cx="0" cy="3320759"/>
            </a:xfrm>
            <a:prstGeom prst="line">
              <a:avLst/>
            </a:prstGeom>
            <a:solidFill>
              <a:srgbClr val="FFFFFF"/>
            </a:solidFill>
            <a:ln w="19050" cap="flat" cmpd="sng" algn="ctr">
              <a:solidFill>
                <a:schemeClr val="tx2"/>
              </a:solidFill>
              <a:prstDash val="solid"/>
              <a:round/>
              <a:headEnd type="none" w="med" len="med"/>
              <a:tailEnd type="none" w="med" len="med"/>
            </a:ln>
            <a:effectLst/>
          </p:spPr>
        </p:cxnSp>
      </p:grpSp>
      <p:grpSp>
        <p:nvGrpSpPr>
          <p:cNvPr id="45" name="Gruppieren 44">
            <a:extLst>
              <a:ext uri="{FF2B5EF4-FFF2-40B4-BE49-F238E27FC236}">
                <a16:creationId xmlns:a16="http://schemas.microsoft.com/office/drawing/2014/main" id="{12B06F70-C9CE-A942-B46D-34ACBC4C3D15}"/>
              </a:ext>
            </a:extLst>
          </p:cNvPr>
          <p:cNvGrpSpPr/>
          <p:nvPr/>
        </p:nvGrpSpPr>
        <p:grpSpPr>
          <a:xfrm>
            <a:off x="967314" y="2930894"/>
            <a:ext cx="1992624" cy="1906800"/>
            <a:chOff x="3279888" y="4563066"/>
            <a:chExt cx="1992624" cy="1906800"/>
          </a:xfrm>
        </p:grpSpPr>
        <p:pic>
          <p:nvPicPr>
            <p:cNvPr id="43" name="Grafik 42" descr="Ein Bild, das Text, Boden, Person, drinnen enthält.&#10;&#10;Automatisch generierte Beschreibung">
              <a:extLst>
                <a:ext uri="{FF2B5EF4-FFF2-40B4-BE49-F238E27FC236}">
                  <a16:creationId xmlns:a16="http://schemas.microsoft.com/office/drawing/2014/main" id="{46186273-3090-7F41-BC51-36AE55F8955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79888" y="4563067"/>
              <a:ext cx="1992624" cy="1906799"/>
            </a:xfrm>
            <a:prstGeom prst="ellipse">
              <a:avLst/>
            </a:prstGeom>
          </p:spPr>
        </p:pic>
        <p:sp>
          <p:nvSpPr>
            <p:cNvPr id="44" name="Oval 43">
              <a:extLst>
                <a:ext uri="{FF2B5EF4-FFF2-40B4-BE49-F238E27FC236}">
                  <a16:creationId xmlns:a16="http://schemas.microsoft.com/office/drawing/2014/main" id="{F0BF1237-BD91-3C42-AE4C-6FD8AFEFFA61}"/>
                </a:ext>
              </a:extLst>
            </p:cNvPr>
            <p:cNvSpPr/>
            <p:nvPr/>
          </p:nvSpPr>
          <p:spPr>
            <a:xfrm>
              <a:off x="3279888" y="4563066"/>
              <a:ext cx="1992624" cy="1906799"/>
            </a:xfrm>
            <a:prstGeom prst="ellipse">
              <a:avLst/>
            </a:prstGeom>
            <a:solidFill>
              <a:schemeClr val="bg1">
                <a:lumMod val="65000"/>
                <a:alpha val="7201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46" name="Gruppieren 45">
            <a:extLst>
              <a:ext uri="{FF2B5EF4-FFF2-40B4-BE49-F238E27FC236}">
                <a16:creationId xmlns:a16="http://schemas.microsoft.com/office/drawing/2014/main" id="{7E34E134-A53F-3C43-91F9-7474B5843203}"/>
              </a:ext>
            </a:extLst>
          </p:cNvPr>
          <p:cNvGrpSpPr/>
          <p:nvPr/>
        </p:nvGrpSpPr>
        <p:grpSpPr>
          <a:xfrm>
            <a:off x="1954938" y="2155978"/>
            <a:ext cx="1401497" cy="1401497"/>
            <a:chOff x="1954938" y="1830161"/>
            <a:chExt cx="1401497" cy="1401497"/>
          </a:xfrm>
        </p:grpSpPr>
        <p:sp>
          <p:nvSpPr>
            <p:cNvPr id="22" name="Ellipse 78">
              <a:extLst>
                <a:ext uri="{FF2B5EF4-FFF2-40B4-BE49-F238E27FC236}">
                  <a16:creationId xmlns:a16="http://schemas.microsoft.com/office/drawing/2014/main" id="{02DDA87B-43A9-1F47-BF9D-86EFB9953362}"/>
                </a:ext>
              </a:extLst>
            </p:cNvPr>
            <p:cNvSpPr>
              <a:spLocks/>
            </p:cNvSpPr>
            <p:nvPr/>
          </p:nvSpPr>
          <p:spPr bwMode="auto">
            <a:xfrm>
              <a:off x="1954938" y="1830161"/>
              <a:ext cx="1401497" cy="1401497"/>
            </a:xfrm>
            <a:prstGeom prst="ellipse">
              <a:avLst/>
            </a:prstGeom>
            <a:solidFill>
              <a:srgbClr val="DBDBDB"/>
            </a:solidFill>
            <a:ln w="9525" cap="flat" cmpd="sng" algn="ctr">
              <a:solidFill>
                <a:schemeClr val="bg1"/>
              </a:solidFill>
              <a:prstDash val="solid"/>
              <a:round/>
              <a:headEnd type="none" w="med" len="med"/>
              <a:tailEnd type="none" w="med" len="med"/>
            </a:ln>
            <a:effectLst/>
          </p:spPr>
          <p:txBody>
            <a:bodyPr vert="horz" wrap="none" lIns="76686" tIns="38575" rIns="75409" bIns="38575" numCol="1" rtlCol="0" anchor="ctr" anchorCtr="0" compatLnSpc="1">
              <a:prstTxWarp prst="textNoShape">
                <a:avLst/>
              </a:prstTxWarp>
            </a:bodyPr>
            <a:lstStyle/>
            <a:p>
              <a:pPr algn="ctr" defTabSz="994766" fontAlgn="base">
                <a:spcBef>
                  <a:spcPct val="0"/>
                </a:spcBef>
                <a:spcAft>
                  <a:spcPct val="0"/>
                </a:spcAft>
                <a:buClr>
                  <a:srgbClr val="FF8000"/>
                </a:buClr>
                <a:buSzPct val="75000"/>
                <a:defRPr/>
              </a:pPr>
              <a:endParaRPr lang="de-DE" sz="3198" b="1" dirty="0">
                <a:solidFill>
                  <a:srgbClr val="FFFFFF"/>
                </a:solidFill>
                <a:latin typeface="Arial" charset="0"/>
              </a:endParaRPr>
            </a:p>
          </p:txBody>
        </p:sp>
        <p:sp>
          <p:nvSpPr>
            <p:cNvPr id="48" name="Freeform 239">
              <a:extLst>
                <a:ext uri="{FF2B5EF4-FFF2-40B4-BE49-F238E27FC236}">
                  <a16:creationId xmlns:a16="http://schemas.microsoft.com/office/drawing/2014/main" id="{E6809280-B21A-0D46-B099-3F88F190A4B1}"/>
                </a:ext>
              </a:extLst>
            </p:cNvPr>
            <p:cNvSpPr>
              <a:spLocks noEditPoints="1"/>
            </p:cNvSpPr>
            <p:nvPr/>
          </p:nvSpPr>
          <p:spPr bwMode="auto">
            <a:xfrm>
              <a:off x="2297971" y="2197067"/>
              <a:ext cx="715432" cy="667684"/>
            </a:xfrm>
            <a:custGeom>
              <a:avLst/>
              <a:gdLst>
                <a:gd name="T0" fmla="*/ 46 w 169"/>
                <a:gd name="T1" fmla="*/ 76 h 186"/>
                <a:gd name="T2" fmla="*/ 50 w 169"/>
                <a:gd name="T3" fmla="*/ 72 h 186"/>
                <a:gd name="T4" fmla="*/ 50 w 169"/>
                <a:gd name="T5" fmla="*/ 55 h 186"/>
                <a:gd name="T6" fmla="*/ 46 w 169"/>
                <a:gd name="T7" fmla="*/ 51 h 186"/>
                <a:gd name="T8" fmla="*/ 42 w 169"/>
                <a:gd name="T9" fmla="*/ 55 h 186"/>
                <a:gd name="T10" fmla="*/ 42 w 169"/>
                <a:gd name="T11" fmla="*/ 72 h 186"/>
                <a:gd name="T12" fmla="*/ 46 w 169"/>
                <a:gd name="T13" fmla="*/ 76 h 186"/>
                <a:gd name="T14" fmla="*/ 122 w 169"/>
                <a:gd name="T15" fmla="*/ 76 h 186"/>
                <a:gd name="T16" fmla="*/ 126 w 169"/>
                <a:gd name="T17" fmla="*/ 72 h 186"/>
                <a:gd name="T18" fmla="*/ 126 w 169"/>
                <a:gd name="T19" fmla="*/ 55 h 186"/>
                <a:gd name="T20" fmla="*/ 122 w 169"/>
                <a:gd name="T21" fmla="*/ 51 h 186"/>
                <a:gd name="T22" fmla="*/ 118 w 169"/>
                <a:gd name="T23" fmla="*/ 55 h 186"/>
                <a:gd name="T24" fmla="*/ 118 w 169"/>
                <a:gd name="T25" fmla="*/ 72 h 186"/>
                <a:gd name="T26" fmla="*/ 122 w 169"/>
                <a:gd name="T27" fmla="*/ 76 h 186"/>
                <a:gd name="T28" fmla="*/ 160 w 169"/>
                <a:gd name="T29" fmla="*/ 26 h 186"/>
                <a:gd name="T30" fmla="*/ 98 w 169"/>
                <a:gd name="T31" fmla="*/ 26 h 186"/>
                <a:gd name="T32" fmla="*/ 111 w 169"/>
                <a:gd name="T33" fmla="*/ 6 h 186"/>
                <a:gd name="T34" fmla="*/ 105 w 169"/>
                <a:gd name="T35" fmla="*/ 0 h 186"/>
                <a:gd name="T36" fmla="*/ 88 w 169"/>
                <a:gd name="T37" fmla="*/ 26 h 186"/>
                <a:gd name="T38" fmla="*/ 8 w 169"/>
                <a:gd name="T39" fmla="*/ 26 h 186"/>
                <a:gd name="T40" fmla="*/ 0 w 169"/>
                <a:gd name="T41" fmla="*/ 34 h 186"/>
                <a:gd name="T42" fmla="*/ 0 w 169"/>
                <a:gd name="T43" fmla="*/ 152 h 186"/>
                <a:gd name="T44" fmla="*/ 8 w 169"/>
                <a:gd name="T45" fmla="*/ 161 h 186"/>
                <a:gd name="T46" fmla="*/ 95 w 169"/>
                <a:gd name="T47" fmla="*/ 161 h 186"/>
                <a:gd name="T48" fmla="*/ 105 w 169"/>
                <a:gd name="T49" fmla="*/ 186 h 186"/>
                <a:gd name="T50" fmla="*/ 112 w 169"/>
                <a:gd name="T51" fmla="*/ 182 h 186"/>
                <a:gd name="T52" fmla="*/ 104 w 169"/>
                <a:gd name="T53" fmla="*/ 161 h 186"/>
                <a:gd name="T54" fmla="*/ 160 w 169"/>
                <a:gd name="T55" fmla="*/ 161 h 186"/>
                <a:gd name="T56" fmla="*/ 169 w 169"/>
                <a:gd name="T57" fmla="*/ 152 h 186"/>
                <a:gd name="T58" fmla="*/ 169 w 169"/>
                <a:gd name="T59" fmla="*/ 34 h 186"/>
                <a:gd name="T60" fmla="*/ 160 w 169"/>
                <a:gd name="T61" fmla="*/ 26 h 186"/>
                <a:gd name="T62" fmla="*/ 84 w 169"/>
                <a:gd name="T63" fmla="*/ 135 h 186"/>
                <a:gd name="T64" fmla="*/ 92 w 169"/>
                <a:gd name="T65" fmla="*/ 135 h 186"/>
                <a:gd name="T66" fmla="*/ 93 w 169"/>
                <a:gd name="T67" fmla="*/ 152 h 186"/>
                <a:gd name="T68" fmla="*/ 8 w 169"/>
                <a:gd name="T69" fmla="*/ 152 h 186"/>
                <a:gd name="T70" fmla="*/ 8 w 169"/>
                <a:gd name="T71" fmla="*/ 34 h 186"/>
                <a:gd name="T72" fmla="*/ 83 w 169"/>
                <a:gd name="T73" fmla="*/ 34 h 186"/>
                <a:gd name="T74" fmla="*/ 64 w 169"/>
                <a:gd name="T75" fmla="*/ 101 h 186"/>
                <a:gd name="T76" fmla="*/ 63 w 169"/>
                <a:gd name="T77" fmla="*/ 106 h 186"/>
                <a:gd name="T78" fmla="*/ 94 w 169"/>
                <a:gd name="T79" fmla="*/ 106 h 186"/>
                <a:gd name="T80" fmla="*/ 92 w 169"/>
                <a:gd name="T81" fmla="*/ 127 h 186"/>
                <a:gd name="T82" fmla="*/ 84 w 169"/>
                <a:gd name="T83" fmla="*/ 127 h 186"/>
                <a:gd name="T84" fmla="*/ 27 w 169"/>
                <a:gd name="T85" fmla="*/ 115 h 186"/>
                <a:gd name="T86" fmla="*/ 23 w 169"/>
                <a:gd name="T87" fmla="*/ 122 h 186"/>
                <a:gd name="T88" fmla="*/ 84 w 169"/>
                <a:gd name="T89" fmla="*/ 135 h 186"/>
                <a:gd name="T90" fmla="*/ 160 w 169"/>
                <a:gd name="T91" fmla="*/ 152 h 186"/>
                <a:gd name="T92" fmla="*/ 102 w 169"/>
                <a:gd name="T93" fmla="*/ 152 h 186"/>
                <a:gd name="T94" fmla="*/ 100 w 169"/>
                <a:gd name="T95" fmla="*/ 134 h 186"/>
                <a:gd name="T96" fmla="*/ 145 w 169"/>
                <a:gd name="T97" fmla="*/ 122 h 186"/>
                <a:gd name="T98" fmla="*/ 141 w 169"/>
                <a:gd name="T99" fmla="*/ 115 h 186"/>
                <a:gd name="T100" fmla="*/ 100 w 169"/>
                <a:gd name="T101" fmla="*/ 126 h 186"/>
                <a:gd name="T102" fmla="*/ 103 w 169"/>
                <a:gd name="T103" fmla="*/ 103 h 186"/>
                <a:gd name="T104" fmla="*/ 104 w 169"/>
                <a:gd name="T105" fmla="*/ 98 h 186"/>
                <a:gd name="T106" fmla="*/ 73 w 169"/>
                <a:gd name="T107" fmla="*/ 98 h 186"/>
                <a:gd name="T108" fmla="*/ 93 w 169"/>
                <a:gd name="T109" fmla="*/ 34 h 186"/>
                <a:gd name="T110" fmla="*/ 160 w 169"/>
                <a:gd name="T111" fmla="*/ 34 h 186"/>
                <a:gd name="T112" fmla="*/ 160 w 169"/>
                <a:gd name="T113" fmla="*/ 15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9" h="186">
                  <a:moveTo>
                    <a:pt x="46" y="76"/>
                  </a:moveTo>
                  <a:cubicBezTo>
                    <a:pt x="49" y="76"/>
                    <a:pt x="50" y="75"/>
                    <a:pt x="50" y="72"/>
                  </a:cubicBezTo>
                  <a:cubicBezTo>
                    <a:pt x="50" y="55"/>
                    <a:pt x="50" y="55"/>
                    <a:pt x="50" y="55"/>
                  </a:cubicBezTo>
                  <a:cubicBezTo>
                    <a:pt x="50" y="53"/>
                    <a:pt x="49" y="51"/>
                    <a:pt x="46" y="51"/>
                  </a:cubicBezTo>
                  <a:cubicBezTo>
                    <a:pt x="44" y="51"/>
                    <a:pt x="42" y="53"/>
                    <a:pt x="42" y="55"/>
                  </a:cubicBezTo>
                  <a:cubicBezTo>
                    <a:pt x="42" y="72"/>
                    <a:pt x="42" y="72"/>
                    <a:pt x="42" y="72"/>
                  </a:cubicBezTo>
                  <a:cubicBezTo>
                    <a:pt x="42" y="75"/>
                    <a:pt x="44" y="76"/>
                    <a:pt x="46" y="76"/>
                  </a:cubicBezTo>
                  <a:close/>
                  <a:moveTo>
                    <a:pt x="122" y="76"/>
                  </a:moveTo>
                  <a:cubicBezTo>
                    <a:pt x="125" y="76"/>
                    <a:pt x="126" y="75"/>
                    <a:pt x="126" y="72"/>
                  </a:cubicBezTo>
                  <a:cubicBezTo>
                    <a:pt x="126" y="55"/>
                    <a:pt x="126" y="55"/>
                    <a:pt x="126" y="55"/>
                  </a:cubicBezTo>
                  <a:cubicBezTo>
                    <a:pt x="126" y="53"/>
                    <a:pt x="125" y="51"/>
                    <a:pt x="122" y="51"/>
                  </a:cubicBezTo>
                  <a:cubicBezTo>
                    <a:pt x="120" y="51"/>
                    <a:pt x="118" y="53"/>
                    <a:pt x="118" y="55"/>
                  </a:cubicBezTo>
                  <a:cubicBezTo>
                    <a:pt x="118" y="72"/>
                    <a:pt x="118" y="72"/>
                    <a:pt x="118" y="72"/>
                  </a:cubicBezTo>
                  <a:cubicBezTo>
                    <a:pt x="118" y="75"/>
                    <a:pt x="120" y="76"/>
                    <a:pt x="122" y="76"/>
                  </a:cubicBezTo>
                  <a:close/>
                  <a:moveTo>
                    <a:pt x="160" y="26"/>
                  </a:moveTo>
                  <a:cubicBezTo>
                    <a:pt x="98" y="26"/>
                    <a:pt x="98" y="26"/>
                    <a:pt x="98" y="26"/>
                  </a:cubicBezTo>
                  <a:cubicBezTo>
                    <a:pt x="105" y="13"/>
                    <a:pt x="111" y="6"/>
                    <a:pt x="111" y="6"/>
                  </a:cubicBezTo>
                  <a:cubicBezTo>
                    <a:pt x="105" y="0"/>
                    <a:pt x="105" y="0"/>
                    <a:pt x="105" y="0"/>
                  </a:cubicBezTo>
                  <a:cubicBezTo>
                    <a:pt x="104" y="1"/>
                    <a:pt x="96" y="10"/>
                    <a:pt x="88" y="26"/>
                  </a:cubicBezTo>
                  <a:cubicBezTo>
                    <a:pt x="8" y="26"/>
                    <a:pt x="8" y="26"/>
                    <a:pt x="8" y="26"/>
                  </a:cubicBezTo>
                  <a:cubicBezTo>
                    <a:pt x="4" y="26"/>
                    <a:pt x="0" y="30"/>
                    <a:pt x="0" y="34"/>
                  </a:cubicBezTo>
                  <a:cubicBezTo>
                    <a:pt x="0" y="152"/>
                    <a:pt x="0" y="152"/>
                    <a:pt x="0" y="152"/>
                  </a:cubicBezTo>
                  <a:cubicBezTo>
                    <a:pt x="0" y="157"/>
                    <a:pt x="4" y="161"/>
                    <a:pt x="8" y="161"/>
                  </a:cubicBezTo>
                  <a:cubicBezTo>
                    <a:pt x="95" y="161"/>
                    <a:pt x="95" y="161"/>
                    <a:pt x="95" y="161"/>
                  </a:cubicBezTo>
                  <a:cubicBezTo>
                    <a:pt x="97" y="169"/>
                    <a:pt x="100" y="178"/>
                    <a:pt x="105" y="186"/>
                  </a:cubicBezTo>
                  <a:cubicBezTo>
                    <a:pt x="112" y="182"/>
                    <a:pt x="112" y="182"/>
                    <a:pt x="112" y="182"/>
                  </a:cubicBezTo>
                  <a:cubicBezTo>
                    <a:pt x="108" y="175"/>
                    <a:pt x="105" y="168"/>
                    <a:pt x="104" y="161"/>
                  </a:cubicBezTo>
                  <a:cubicBezTo>
                    <a:pt x="160" y="161"/>
                    <a:pt x="160" y="161"/>
                    <a:pt x="160" y="161"/>
                  </a:cubicBezTo>
                  <a:cubicBezTo>
                    <a:pt x="165" y="161"/>
                    <a:pt x="169" y="157"/>
                    <a:pt x="169" y="152"/>
                  </a:cubicBezTo>
                  <a:cubicBezTo>
                    <a:pt x="169" y="34"/>
                    <a:pt x="169" y="34"/>
                    <a:pt x="169" y="34"/>
                  </a:cubicBezTo>
                  <a:cubicBezTo>
                    <a:pt x="169" y="30"/>
                    <a:pt x="165" y="26"/>
                    <a:pt x="160" y="26"/>
                  </a:cubicBezTo>
                  <a:close/>
                  <a:moveTo>
                    <a:pt x="84" y="135"/>
                  </a:moveTo>
                  <a:cubicBezTo>
                    <a:pt x="87" y="135"/>
                    <a:pt x="89" y="135"/>
                    <a:pt x="92" y="135"/>
                  </a:cubicBezTo>
                  <a:cubicBezTo>
                    <a:pt x="92" y="141"/>
                    <a:pt x="92" y="146"/>
                    <a:pt x="93" y="152"/>
                  </a:cubicBezTo>
                  <a:cubicBezTo>
                    <a:pt x="8" y="152"/>
                    <a:pt x="8" y="152"/>
                    <a:pt x="8" y="152"/>
                  </a:cubicBezTo>
                  <a:cubicBezTo>
                    <a:pt x="8" y="34"/>
                    <a:pt x="8" y="34"/>
                    <a:pt x="8" y="34"/>
                  </a:cubicBezTo>
                  <a:cubicBezTo>
                    <a:pt x="83" y="34"/>
                    <a:pt x="83" y="34"/>
                    <a:pt x="83" y="34"/>
                  </a:cubicBezTo>
                  <a:cubicBezTo>
                    <a:pt x="75" y="51"/>
                    <a:pt x="66" y="74"/>
                    <a:pt x="64" y="101"/>
                  </a:cubicBezTo>
                  <a:cubicBezTo>
                    <a:pt x="63" y="106"/>
                    <a:pt x="63" y="106"/>
                    <a:pt x="63" y="106"/>
                  </a:cubicBezTo>
                  <a:cubicBezTo>
                    <a:pt x="94" y="106"/>
                    <a:pt x="94" y="106"/>
                    <a:pt x="94" y="106"/>
                  </a:cubicBezTo>
                  <a:cubicBezTo>
                    <a:pt x="93" y="111"/>
                    <a:pt x="92" y="118"/>
                    <a:pt x="92" y="127"/>
                  </a:cubicBezTo>
                  <a:cubicBezTo>
                    <a:pt x="89" y="127"/>
                    <a:pt x="87" y="127"/>
                    <a:pt x="84" y="127"/>
                  </a:cubicBezTo>
                  <a:cubicBezTo>
                    <a:pt x="52" y="127"/>
                    <a:pt x="27" y="115"/>
                    <a:pt x="27" y="115"/>
                  </a:cubicBezTo>
                  <a:cubicBezTo>
                    <a:pt x="23" y="122"/>
                    <a:pt x="23" y="122"/>
                    <a:pt x="23" y="122"/>
                  </a:cubicBezTo>
                  <a:cubicBezTo>
                    <a:pt x="24" y="123"/>
                    <a:pt x="50" y="135"/>
                    <a:pt x="84" y="135"/>
                  </a:cubicBezTo>
                  <a:close/>
                  <a:moveTo>
                    <a:pt x="160" y="152"/>
                  </a:moveTo>
                  <a:cubicBezTo>
                    <a:pt x="102" y="152"/>
                    <a:pt x="102" y="152"/>
                    <a:pt x="102" y="152"/>
                  </a:cubicBezTo>
                  <a:cubicBezTo>
                    <a:pt x="101" y="146"/>
                    <a:pt x="100" y="140"/>
                    <a:pt x="100" y="134"/>
                  </a:cubicBezTo>
                  <a:cubicBezTo>
                    <a:pt x="126" y="131"/>
                    <a:pt x="144" y="123"/>
                    <a:pt x="145" y="122"/>
                  </a:cubicBezTo>
                  <a:cubicBezTo>
                    <a:pt x="141" y="115"/>
                    <a:pt x="141" y="115"/>
                    <a:pt x="141" y="115"/>
                  </a:cubicBezTo>
                  <a:cubicBezTo>
                    <a:pt x="141" y="115"/>
                    <a:pt x="124" y="123"/>
                    <a:pt x="100" y="126"/>
                  </a:cubicBezTo>
                  <a:cubicBezTo>
                    <a:pt x="101" y="112"/>
                    <a:pt x="103" y="103"/>
                    <a:pt x="103" y="103"/>
                  </a:cubicBezTo>
                  <a:cubicBezTo>
                    <a:pt x="104" y="98"/>
                    <a:pt x="104" y="98"/>
                    <a:pt x="104" y="98"/>
                  </a:cubicBezTo>
                  <a:cubicBezTo>
                    <a:pt x="73" y="98"/>
                    <a:pt x="73" y="98"/>
                    <a:pt x="73" y="98"/>
                  </a:cubicBezTo>
                  <a:cubicBezTo>
                    <a:pt x="76" y="72"/>
                    <a:pt x="85" y="50"/>
                    <a:pt x="93" y="34"/>
                  </a:cubicBezTo>
                  <a:cubicBezTo>
                    <a:pt x="160" y="34"/>
                    <a:pt x="160" y="34"/>
                    <a:pt x="160" y="34"/>
                  </a:cubicBezTo>
                  <a:lnTo>
                    <a:pt x="160" y="152"/>
                  </a:lnTo>
                  <a:close/>
                </a:path>
              </a:pathLst>
            </a:custGeom>
            <a:solidFill>
              <a:schemeClr val="bg1"/>
            </a:solidFill>
            <a:ln>
              <a:noFill/>
            </a:ln>
          </p:spPr>
          <p:txBody>
            <a:bodyPr vert="horz" wrap="square" lIns="100796" tIns="50398" rIns="100796" bIns="50398" numCol="1" anchor="t" anchorCtr="0" compatLnSpc="1">
              <a:prstTxWarp prst="textNoShape">
                <a:avLst/>
              </a:prstTxWarp>
            </a:bodyPr>
            <a:lstStyle/>
            <a:p>
              <a:endParaRPr lang="en-US" sz="1984"/>
            </a:p>
          </p:txBody>
        </p:sp>
      </p:grpSp>
      <p:grpSp>
        <p:nvGrpSpPr>
          <p:cNvPr id="50" name="Gruppieren 49">
            <a:extLst>
              <a:ext uri="{FF2B5EF4-FFF2-40B4-BE49-F238E27FC236}">
                <a16:creationId xmlns:a16="http://schemas.microsoft.com/office/drawing/2014/main" id="{E23F51F6-D9C4-9845-BA22-60D1B4D1D412}"/>
              </a:ext>
            </a:extLst>
          </p:cNvPr>
          <p:cNvGrpSpPr/>
          <p:nvPr/>
        </p:nvGrpSpPr>
        <p:grpSpPr>
          <a:xfrm>
            <a:off x="2044544" y="4006348"/>
            <a:ext cx="1401497" cy="1401497"/>
            <a:chOff x="2045138" y="3862319"/>
            <a:chExt cx="1401497" cy="1401497"/>
          </a:xfrm>
        </p:grpSpPr>
        <p:sp>
          <p:nvSpPr>
            <p:cNvPr id="25" name="Ellipse 76">
              <a:extLst>
                <a:ext uri="{FF2B5EF4-FFF2-40B4-BE49-F238E27FC236}">
                  <a16:creationId xmlns:a16="http://schemas.microsoft.com/office/drawing/2014/main" id="{846FC3B4-AC88-EB41-8C16-3F6D16C6FF2D}"/>
                </a:ext>
              </a:extLst>
            </p:cNvPr>
            <p:cNvSpPr>
              <a:spLocks/>
            </p:cNvSpPr>
            <p:nvPr/>
          </p:nvSpPr>
          <p:spPr bwMode="auto">
            <a:xfrm>
              <a:off x="2045138" y="3862319"/>
              <a:ext cx="1401497" cy="1401497"/>
            </a:xfrm>
            <a:prstGeom prst="ellipse">
              <a:avLst/>
            </a:prstGeom>
            <a:solidFill>
              <a:srgbClr val="CACACA"/>
            </a:solidFill>
            <a:ln w="9525" cap="flat" cmpd="sng" algn="ctr">
              <a:solidFill>
                <a:schemeClr val="bg1"/>
              </a:solidFill>
              <a:prstDash val="solid"/>
              <a:round/>
              <a:headEnd type="none" w="med" len="med"/>
              <a:tailEnd type="none" w="med" len="med"/>
            </a:ln>
            <a:effectLst/>
          </p:spPr>
          <p:txBody>
            <a:bodyPr vert="horz" wrap="none" lIns="76686" tIns="38575" rIns="75409" bIns="38575" numCol="1" rtlCol="0" anchor="ctr" anchorCtr="0" compatLnSpc="1">
              <a:prstTxWarp prst="textNoShape">
                <a:avLst/>
              </a:prstTxWarp>
            </a:bodyPr>
            <a:lstStyle/>
            <a:p>
              <a:pPr algn="ctr" defTabSz="994766" fontAlgn="base">
                <a:spcBef>
                  <a:spcPct val="0"/>
                </a:spcBef>
                <a:spcAft>
                  <a:spcPct val="0"/>
                </a:spcAft>
                <a:buClr>
                  <a:srgbClr val="FF8000"/>
                </a:buClr>
                <a:buSzPct val="75000"/>
                <a:defRPr/>
              </a:pPr>
              <a:endParaRPr lang="de-DE" sz="3198" b="1" dirty="0">
                <a:solidFill>
                  <a:srgbClr val="FFFFFF"/>
                </a:solidFill>
                <a:latin typeface="Arial" charset="0"/>
              </a:endParaRPr>
            </a:p>
          </p:txBody>
        </p:sp>
        <p:pic>
          <p:nvPicPr>
            <p:cNvPr id="49" name="Grafik 48">
              <a:extLst>
                <a:ext uri="{FF2B5EF4-FFF2-40B4-BE49-F238E27FC236}">
                  <a16:creationId xmlns:a16="http://schemas.microsoft.com/office/drawing/2014/main" id="{3087FD62-EA99-0349-A8F6-36414E78BA5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209892" y="4027073"/>
              <a:ext cx="1071989" cy="1071989"/>
            </a:xfrm>
            <a:prstGeom prst="rect">
              <a:avLst/>
            </a:prstGeom>
          </p:spPr>
        </p:pic>
      </p:grpSp>
      <p:grpSp>
        <p:nvGrpSpPr>
          <p:cNvPr id="40" name="Gruppieren 39">
            <a:extLst>
              <a:ext uri="{FF2B5EF4-FFF2-40B4-BE49-F238E27FC236}">
                <a16:creationId xmlns:a16="http://schemas.microsoft.com/office/drawing/2014/main" id="{B86FFC31-13C7-D141-A926-202F2E14C1FA}"/>
              </a:ext>
            </a:extLst>
          </p:cNvPr>
          <p:cNvGrpSpPr/>
          <p:nvPr/>
        </p:nvGrpSpPr>
        <p:grpSpPr>
          <a:xfrm>
            <a:off x="2880031" y="2474794"/>
            <a:ext cx="2616182" cy="2494870"/>
            <a:chOff x="4253907" y="3601841"/>
            <a:chExt cx="2616182" cy="2494870"/>
          </a:xfrm>
        </p:grpSpPr>
        <p:pic>
          <p:nvPicPr>
            <p:cNvPr id="39" name="Grafik 38" descr="Ein Bild, das Person, drinnen, klein enthält.&#10;&#10;Automatisch generierte Beschreibung">
              <a:extLst>
                <a:ext uri="{FF2B5EF4-FFF2-40B4-BE49-F238E27FC236}">
                  <a16:creationId xmlns:a16="http://schemas.microsoft.com/office/drawing/2014/main" id="{7A761725-748E-DB45-8683-C3AA7C3EABD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253908" y="3601841"/>
              <a:ext cx="2616179" cy="2494870"/>
            </a:xfrm>
            <a:prstGeom prst="ellipse">
              <a:avLst/>
            </a:prstGeom>
          </p:spPr>
        </p:pic>
        <p:sp>
          <p:nvSpPr>
            <p:cNvPr id="38" name="Oval 37">
              <a:extLst>
                <a:ext uri="{FF2B5EF4-FFF2-40B4-BE49-F238E27FC236}">
                  <a16:creationId xmlns:a16="http://schemas.microsoft.com/office/drawing/2014/main" id="{04F9FC92-AB61-894A-805A-A4CF0B2ED071}"/>
                </a:ext>
              </a:extLst>
            </p:cNvPr>
            <p:cNvSpPr/>
            <p:nvPr/>
          </p:nvSpPr>
          <p:spPr>
            <a:xfrm>
              <a:off x="4253907" y="3601841"/>
              <a:ext cx="2616182" cy="2494869"/>
            </a:xfrm>
            <a:prstGeom prst="ellipse">
              <a:avLst/>
            </a:prstGeom>
            <a:solidFill>
              <a:schemeClr val="tx2">
                <a:alpha val="71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3" name="Ellipse 38">
            <a:extLst>
              <a:ext uri="{FF2B5EF4-FFF2-40B4-BE49-F238E27FC236}">
                <a16:creationId xmlns:a16="http://schemas.microsoft.com/office/drawing/2014/main" id="{D61BBBC6-1C10-4145-B051-1C287545BD9F}"/>
              </a:ext>
            </a:extLst>
          </p:cNvPr>
          <p:cNvSpPr/>
          <p:nvPr/>
        </p:nvSpPr>
        <p:spPr bwMode="auto">
          <a:xfrm>
            <a:off x="2880030" y="2474793"/>
            <a:ext cx="2616182" cy="2494870"/>
          </a:xfrm>
          <a:prstGeom prst="ellipse">
            <a:avLst/>
          </a:prstGeom>
          <a:noFill/>
          <a:ln w="28575" cap="flat" cmpd="sng" algn="ctr">
            <a:solidFill>
              <a:srgbClr val="FFFFFF"/>
            </a:solidFill>
            <a:prstDash val="solid"/>
            <a:round/>
            <a:headEnd type="none" w="med" len="med"/>
            <a:tailEnd type="none" w="med" len="med"/>
          </a:ln>
          <a:effectLst/>
        </p:spPr>
        <p:txBody>
          <a:bodyPr vert="horz" wrap="none" lIns="104334" tIns="52483" rIns="102598" bIns="52483" numCol="1" rtlCol="0" anchor="ctr" anchorCtr="0" compatLnSpc="1">
            <a:prstTxWarp prst="textNoShape">
              <a:avLst/>
            </a:prstTxWarp>
          </a:bodyPr>
          <a:lstStyle/>
          <a:p>
            <a:pPr marL="0" marR="0" lvl="0" indent="0" algn="ctr" defTabSz="994766" eaLnBrk="1" fontAlgn="base" latinLnBrk="0" hangingPunct="1">
              <a:lnSpc>
                <a:spcPct val="100000"/>
              </a:lnSpc>
              <a:spcBef>
                <a:spcPct val="0"/>
              </a:spcBef>
              <a:spcAft>
                <a:spcPct val="0"/>
              </a:spcAft>
              <a:buClr>
                <a:srgbClr val="FF8000"/>
              </a:buClr>
              <a:buSzPct val="75000"/>
              <a:buFontTx/>
              <a:buNone/>
              <a:tabLst/>
              <a:defRPr/>
            </a:pPr>
            <a:endParaRPr kumimoji="0" lang="de-DE" sz="3198" b="1" i="0" u="none" strike="noStrike" kern="0" cap="none" spc="0" normalizeH="0" baseline="0" noProof="0" dirty="0">
              <a:ln>
                <a:noFill/>
              </a:ln>
              <a:solidFill>
                <a:srgbClr val="FFFFFF"/>
              </a:solidFill>
              <a:effectLst/>
              <a:uLnTx/>
              <a:uFillTx/>
              <a:latin typeface="Arial" charset="0"/>
            </a:endParaRPr>
          </a:p>
        </p:txBody>
      </p:sp>
      <p:sp>
        <p:nvSpPr>
          <p:cNvPr id="51" name="Textfeld 50">
            <a:extLst>
              <a:ext uri="{FF2B5EF4-FFF2-40B4-BE49-F238E27FC236}">
                <a16:creationId xmlns:a16="http://schemas.microsoft.com/office/drawing/2014/main" id="{EEC16045-19E3-5A47-A3D6-D9B1960B22F9}"/>
              </a:ext>
            </a:extLst>
          </p:cNvPr>
          <p:cNvSpPr txBox="1"/>
          <p:nvPr/>
        </p:nvSpPr>
        <p:spPr>
          <a:xfrm>
            <a:off x="6126972" y="2313938"/>
            <a:ext cx="5118537" cy="3416320"/>
          </a:xfrm>
          <a:prstGeom prst="rect">
            <a:avLst/>
          </a:prstGeom>
          <a:noFill/>
        </p:spPr>
        <p:txBody>
          <a:bodyPr wrap="square" rtlCol="0">
            <a:spAutoFit/>
          </a:bodyPr>
          <a:lstStyle/>
          <a:p>
            <a:pPr marL="285750" indent="-285750">
              <a:buFont typeface="Arial" panose="020B0604020202020204" pitchFamily="34" charset="0"/>
              <a:buChar char="•"/>
            </a:pPr>
            <a:r>
              <a:rPr lang="de-DE" altLang="de-DE" dirty="0">
                <a:solidFill>
                  <a:schemeClr val="tx1">
                    <a:lumMod val="65000"/>
                    <a:lumOff val="35000"/>
                  </a:schemeClr>
                </a:solidFill>
                <a:latin typeface="Tahoma"/>
              </a:rPr>
              <a:t>Tage der offenen Tür</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Schnuppertage</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Vorlesen der Erst- und Zweitklässler in Kita</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Teilnahme am Sponsorenlauf</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Nutzung der Räumlichkeiten der Schule</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Präsentationen der Arbeitsgemeinschaften</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Einladung zu Aufführungen</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Gemeinsame Feste</a:t>
            </a:r>
          </a:p>
          <a:p>
            <a:pPr marL="742950" lvl="1" indent="-285750">
              <a:buFont typeface="Symbol" pitchFamily="2" charset="2"/>
              <a:buChar char="-"/>
            </a:pPr>
            <a:r>
              <a:rPr lang="de-DE" altLang="de-DE" dirty="0">
                <a:solidFill>
                  <a:schemeClr val="tx1">
                    <a:lumMod val="65000"/>
                    <a:lumOff val="35000"/>
                  </a:schemeClr>
                </a:solidFill>
                <a:latin typeface="Tahoma"/>
              </a:rPr>
              <a:t>Sankt Martin</a:t>
            </a:r>
          </a:p>
          <a:p>
            <a:pPr marL="742950" lvl="1" indent="-285750">
              <a:buFont typeface="Symbol" pitchFamily="2" charset="2"/>
              <a:buChar char="-"/>
            </a:pPr>
            <a:r>
              <a:rPr lang="de-DE" altLang="de-DE" dirty="0">
                <a:solidFill>
                  <a:schemeClr val="tx1">
                    <a:lumMod val="65000"/>
                    <a:lumOff val="35000"/>
                  </a:schemeClr>
                </a:solidFill>
                <a:latin typeface="Tahoma"/>
              </a:rPr>
              <a:t>Projektpräsentationen</a:t>
            </a:r>
          </a:p>
          <a:p>
            <a:pPr marL="742950" lvl="1" indent="-285750">
              <a:buFont typeface="Symbol" pitchFamily="2" charset="2"/>
              <a:buChar char="-"/>
            </a:pPr>
            <a:r>
              <a:rPr lang="de-DE" altLang="de-DE" dirty="0">
                <a:solidFill>
                  <a:schemeClr val="tx1">
                    <a:lumMod val="65000"/>
                    <a:lumOff val="35000"/>
                  </a:schemeClr>
                </a:solidFill>
                <a:latin typeface="Tahoma"/>
              </a:rPr>
              <a:t>Sommer- und Schulfeste</a:t>
            </a:r>
          </a:p>
          <a:p>
            <a:pPr marL="285750" indent="-285750">
              <a:buFont typeface="Arial" panose="020B0604020202020204" pitchFamily="34" charset="0"/>
              <a:buChar char="•"/>
            </a:pPr>
            <a:endParaRPr lang="de-DE"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1431612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uppieren 40">
            <a:extLst>
              <a:ext uri="{FF2B5EF4-FFF2-40B4-BE49-F238E27FC236}">
                <a16:creationId xmlns:a16="http://schemas.microsoft.com/office/drawing/2014/main" id="{C775480C-404C-B341-9078-67EFE1FBCBCD}"/>
              </a:ext>
            </a:extLst>
          </p:cNvPr>
          <p:cNvGrpSpPr/>
          <p:nvPr/>
        </p:nvGrpSpPr>
        <p:grpSpPr>
          <a:xfrm>
            <a:off x="981994" y="2934853"/>
            <a:ext cx="1992624" cy="1906800"/>
            <a:chOff x="7302757" y="1439049"/>
            <a:chExt cx="2616183" cy="2494871"/>
          </a:xfrm>
        </p:grpSpPr>
        <p:grpSp>
          <p:nvGrpSpPr>
            <p:cNvPr id="40" name="Gruppieren 39">
              <a:extLst>
                <a:ext uri="{FF2B5EF4-FFF2-40B4-BE49-F238E27FC236}">
                  <a16:creationId xmlns:a16="http://schemas.microsoft.com/office/drawing/2014/main" id="{B86FFC31-13C7-D141-A926-202F2E14C1FA}"/>
                </a:ext>
              </a:extLst>
            </p:cNvPr>
            <p:cNvGrpSpPr/>
            <p:nvPr/>
          </p:nvGrpSpPr>
          <p:grpSpPr>
            <a:xfrm>
              <a:off x="7302758" y="1439050"/>
              <a:ext cx="2616182" cy="2494870"/>
              <a:chOff x="4253907" y="3601841"/>
              <a:chExt cx="2616182" cy="2494870"/>
            </a:xfrm>
          </p:grpSpPr>
          <p:pic>
            <p:nvPicPr>
              <p:cNvPr id="39" name="Grafik 38" descr="Ein Bild, das Person, drinnen, klein enthält.&#10;&#10;Automatisch generierte Beschreibung">
                <a:extLst>
                  <a:ext uri="{FF2B5EF4-FFF2-40B4-BE49-F238E27FC236}">
                    <a16:creationId xmlns:a16="http://schemas.microsoft.com/office/drawing/2014/main" id="{7A761725-748E-DB45-8683-C3AA7C3EABD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253908" y="3601841"/>
                <a:ext cx="2616179" cy="2494870"/>
              </a:xfrm>
              <a:prstGeom prst="ellipse">
                <a:avLst/>
              </a:prstGeom>
            </p:spPr>
          </p:pic>
          <p:sp>
            <p:nvSpPr>
              <p:cNvPr id="38" name="Oval 37">
                <a:extLst>
                  <a:ext uri="{FF2B5EF4-FFF2-40B4-BE49-F238E27FC236}">
                    <a16:creationId xmlns:a16="http://schemas.microsoft.com/office/drawing/2014/main" id="{04F9FC92-AB61-894A-805A-A4CF0B2ED071}"/>
                  </a:ext>
                </a:extLst>
              </p:cNvPr>
              <p:cNvSpPr/>
              <p:nvPr/>
            </p:nvSpPr>
            <p:spPr>
              <a:xfrm>
                <a:off x="4253907" y="3601841"/>
                <a:ext cx="2616182" cy="2494869"/>
              </a:xfrm>
              <a:prstGeom prst="ellipse">
                <a:avLst/>
              </a:prstGeom>
              <a:solidFill>
                <a:schemeClr val="tx2">
                  <a:alpha val="71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3" name="Ellipse 38">
              <a:extLst>
                <a:ext uri="{FF2B5EF4-FFF2-40B4-BE49-F238E27FC236}">
                  <a16:creationId xmlns:a16="http://schemas.microsoft.com/office/drawing/2014/main" id="{D61BBBC6-1C10-4145-B051-1C287545BD9F}"/>
                </a:ext>
              </a:extLst>
            </p:cNvPr>
            <p:cNvSpPr/>
            <p:nvPr/>
          </p:nvSpPr>
          <p:spPr bwMode="auto">
            <a:xfrm>
              <a:off x="7302757" y="1439049"/>
              <a:ext cx="2616182" cy="2494870"/>
            </a:xfrm>
            <a:prstGeom prst="ellipse">
              <a:avLst/>
            </a:prstGeom>
            <a:noFill/>
            <a:ln w="28575" cap="flat" cmpd="sng" algn="ctr">
              <a:solidFill>
                <a:srgbClr val="FFFFFF"/>
              </a:solidFill>
              <a:prstDash val="solid"/>
              <a:round/>
              <a:headEnd type="none" w="med" len="med"/>
              <a:tailEnd type="none" w="med" len="med"/>
            </a:ln>
            <a:effectLst/>
          </p:spPr>
          <p:txBody>
            <a:bodyPr vert="horz" wrap="none" lIns="104334" tIns="52483" rIns="102598" bIns="52483" numCol="1" rtlCol="0" anchor="ctr" anchorCtr="0" compatLnSpc="1">
              <a:prstTxWarp prst="textNoShape">
                <a:avLst/>
              </a:prstTxWarp>
            </a:bodyPr>
            <a:lstStyle/>
            <a:p>
              <a:pPr marL="0" marR="0" lvl="0" indent="0" algn="ctr" defTabSz="994766" eaLnBrk="1" fontAlgn="base" latinLnBrk="0" hangingPunct="1">
                <a:lnSpc>
                  <a:spcPct val="100000"/>
                </a:lnSpc>
                <a:spcBef>
                  <a:spcPct val="0"/>
                </a:spcBef>
                <a:spcAft>
                  <a:spcPct val="0"/>
                </a:spcAft>
                <a:buClr>
                  <a:srgbClr val="FF8000"/>
                </a:buClr>
                <a:buSzPct val="75000"/>
                <a:buFontTx/>
                <a:buNone/>
                <a:tabLst/>
                <a:defRPr/>
              </a:pPr>
              <a:endParaRPr kumimoji="0" lang="de-DE" sz="3198" b="1" i="0" u="none" strike="noStrike" kern="0" cap="none" spc="0" normalizeH="0" baseline="0" noProof="0" dirty="0">
                <a:ln>
                  <a:noFill/>
                </a:ln>
                <a:solidFill>
                  <a:srgbClr val="FFFFFF"/>
                </a:solidFill>
                <a:effectLst/>
                <a:uLnTx/>
                <a:uFillTx/>
                <a:latin typeface="Arial" charset="0"/>
              </a:endParaRPr>
            </a:p>
          </p:txBody>
        </p:sp>
      </p:grpSp>
      <p:pic>
        <p:nvPicPr>
          <p:cNvPr id="54" name="Grafik 53">
            <a:extLst>
              <a:ext uri="{FF2B5EF4-FFF2-40B4-BE49-F238E27FC236}">
                <a16:creationId xmlns:a16="http://schemas.microsoft.com/office/drawing/2014/main" id="{F8E01B9D-5B0D-ED48-93FD-8B9F129C122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1179"/>
          <a:stretch/>
        </p:blipFill>
        <p:spPr>
          <a:xfrm>
            <a:off x="-23924" y="220711"/>
            <a:ext cx="12384090" cy="1452195"/>
          </a:xfrm>
          <a:prstGeom prst="rect">
            <a:avLst/>
          </a:prstGeom>
        </p:spPr>
      </p:pic>
      <p:sp>
        <p:nvSpPr>
          <p:cNvPr id="53" name="Rectangle 21">
            <a:extLst>
              <a:ext uri="{FF2B5EF4-FFF2-40B4-BE49-F238E27FC236}">
                <a16:creationId xmlns:a16="http://schemas.microsoft.com/office/drawing/2014/main" id="{66D3B711-11C4-0A42-9372-FA79243F9672}"/>
              </a:ext>
            </a:extLst>
          </p:cNvPr>
          <p:cNvSpPr/>
          <p:nvPr/>
        </p:nvSpPr>
        <p:spPr bwMode="auto">
          <a:xfrm>
            <a:off x="-23925" y="209637"/>
            <a:ext cx="12239849" cy="1452196"/>
          </a:xfrm>
          <a:prstGeom prst="rect">
            <a:avLst/>
          </a:prstGeom>
          <a:solidFill>
            <a:schemeClr val="tx2">
              <a:lumMod val="60000"/>
              <a:lumOff val="40000"/>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2" name="Titel 1">
            <a:extLst>
              <a:ext uri="{FF2B5EF4-FFF2-40B4-BE49-F238E27FC236}">
                <a16:creationId xmlns:a16="http://schemas.microsoft.com/office/drawing/2014/main" id="{8DBD732E-255D-5641-835F-7822FEFB1A84}"/>
              </a:ext>
            </a:extLst>
          </p:cNvPr>
          <p:cNvSpPr>
            <a:spLocks noGrp="1"/>
          </p:cNvSpPr>
          <p:nvPr>
            <p:ph type="title"/>
          </p:nvPr>
        </p:nvSpPr>
        <p:spPr>
          <a:xfrm>
            <a:off x="373172" y="771272"/>
            <a:ext cx="11445656" cy="797082"/>
          </a:xfrm>
        </p:spPr>
        <p:txBody>
          <a:bodyPr/>
          <a:lstStyle/>
          <a:p>
            <a:r>
              <a:rPr lang="de-DE" dirty="0">
                <a:solidFill>
                  <a:schemeClr val="bg1"/>
                </a:solidFill>
                <a:latin typeface="Tahoma" panose="020B0604030504040204" pitchFamily="34" charset="0"/>
                <a:ea typeface="Tahoma" panose="020B0604030504040204" pitchFamily="34" charset="0"/>
                <a:cs typeface="Tahoma" panose="020B0604030504040204" pitchFamily="34" charset="0"/>
              </a:rPr>
              <a:t>Leben und Lernen in Kindertageseinrichtungen</a:t>
            </a:r>
          </a:p>
        </p:txBody>
      </p:sp>
      <p:sp>
        <p:nvSpPr>
          <p:cNvPr id="3" name="Textplatzhalter 2">
            <a:extLst>
              <a:ext uri="{FF2B5EF4-FFF2-40B4-BE49-F238E27FC236}">
                <a16:creationId xmlns:a16="http://schemas.microsoft.com/office/drawing/2014/main" id="{372F9084-4CAF-5A4B-B2B8-887F658B4A98}"/>
              </a:ext>
            </a:extLst>
          </p:cNvPr>
          <p:cNvSpPr>
            <a:spLocks noGrp="1"/>
          </p:cNvSpPr>
          <p:nvPr>
            <p:ph type="body" sz="quarter" idx="10"/>
          </p:nvPr>
        </p:nvSpPr>
        <p:spPr>
          <a:xfrm>
            <a:off x="373172" y="369140"/>
            <a:ext cx="5334843" cy="314948"/>
          </a:xfrm>
        </p:spPr>
        <p:txBody>
          <a:bodyPr/>
          <a:lstStyle/>
          <a:p>
            <a:r>
              <a:rPr lang="de-DE" dirty="0">
                <a:solidFill>
                  <a:schemeClr val="bg1"/>
                </a:solidFill>
              </a:rPr>
              <a:t>KITA</a:t>
            </a:r>
          </a:p>
        </p:txBody>
      </p:sp>
      <p:grpSp>
        <p:nvGrpSpPr>
          <p:cNvPr id="35" name="Gruppieren 34">
            <a:extLst>
              <a:ext uri="{FF2B5EF4-FFF2-40B4-BE49-F238E27FC236}">
                <a16:creationId xmlns:a16="http://schemas.microsoft.com/office/drawing/2014/main" id="{F71E316C-7883-2C45-A8E5-52265394BD48}"/>
              </a:ext>
            </a:extLst>
          </p:cNvPr>
          <p:cNvGrpSpPr/>
          <p:nvPr/>
        </p:nvGrpSpPr>
        <p:grpSpPr>
          <a:xfrm>
            <a:off x="5382112" y="2313938"/>
            <a:ext cx="383575" cy="3318668"/>
            <a:chOff x="4818963" y="2170323"/>
            <a:chExt cx="383817" cy="3320759"/>
          </a:xfrm>
        </p:grpSpPr>
        <p:cxnSp>
          <p:nvCxnSpPr>
            <p:cNvPr id="36" name="Straight Connector 12">
              <a:extLst>
                <a:ext uri="{FF2B5EF4-FFF2-40B4-BE49-F238E27FC236}">
                  <a16:creationId xmlns:a16="http://schemas.microsoft.com/office/drawing/2014/main" id="{C0CE0D2F-9C6A-324C-AA54-45D6E0C7A8BA}"/>
                </a:ext>
              </a:extLst>
            </p:cNvPr>
            <p:cNvCxnSpPr>
              <a:cxnSpLocks/>
            </p:cNvCxnSpPr>
            <p:nvPr/>
          </p:nvCxnSpPr>
          <p:spPr bwMode="auto">
            <a:xfrm>
              <a:off x="4818963" y="3741668"/>
              <a:ext cx="360000" cy="0"/>
            </a:xfrm>
            <a:prstGeom prst="line">
              <a:avLst/>
            </a:prstGeom>
            <a:solidFill>
              <a:srgbClr val="FFFFFF"/>
            </a:solidFill>
            <a:ln w="19050" cap="flat" cmpd="sng" algn="ctr">
              <a:solidFill>
                <a:schemeClr val="tx2"/>
              </a:solidFill>
              <a:prstDash val="solid"/>
              <a:round/>
              <a:headEnd type="none" w="med" len="med"/>
              <a:tailEnd type="none" w="med" len="med"/>
            </a:ln>
            <a:effectLst/>
          </p:spPr>
        </p:cxnSp>
        <p:cxnSp>
          <p:nvCxnSpPr>
            <p:cNvPr id="37" name="Straight Connector 49">
              <a:extLst>
                <a:ext uri="{FF2B5EF4-FFF2-40B4-BE49-F238E27FC236}">
                  <a16:creationId xmlns:a16="http://schemas.microsoft.com/office/drawing/2014/main" id="{545E32B8-D236-9949-A410-0E19F69635AB}"/>
                </a:ext>
              </a:extLst>
            </p:cNvPr>
            <p:cNvCxnSpPr>
              <a:cxnSpLocks/>
            </p:cNvCxnSpPr>
            <p:nvPr/>
          </p:nvCxnSpPr>
          <p:spPr bwMode="auto">
            <a:xfrm>
              <a:off x="5202780" y="2170323"/>
              <a:ext cx="0" cy="3320759"/>
            </a:xfrm>
            <a:prstGeom prst="line">
              <a:avLst/>
            </a:prstGeom>
            <a:solidFill>
              <a:srgbClr val="FFFFFF"/>
            </a:solidFill>
            <a:ln w="19050" cap="flat" cmpd="sng" algn="ctr">
              <a:solidFill>
                <a:schemeClr val="tx2"/>
              </a:solidFill>
              <a:prstDash val="solid"/>
              <a:round/>
              <a:headEnd type="none" w="med" len="med"/>
              <a:tailEnd type="none" w="med" len="med"/>
            </a:ln>
            <a:effectLst/>
          </p:spPr>
        </p:cxnSp>
      </p:grpSp>
      <p:grpSp>
        <p:nvGrpSpPr>
          <p:cNvPr id="50" name="Gruppieren 49">
            <a:extLst>
              <a:ext uri="{FF2B5EF4-FFF2-40B4-BE49-F238E27FC236}">
                <a16:creationId xmlns:a16="http://schemas.microsoft.com/office/drawing/2014/main" id="{E23F51F6-D9C4-9845-BA22-60D1B4D1D412}"/>
              </a:ext>
            </a:extLst>
          </p:cNvPr>
          <p:cNvGrpSpPr/>
          <p:nvPr/>
        </p:nvGrpSpPr>
        <p:grpSpPr>
          <a:xfrm>
            <a:off x="2044544" y="4006348"/>
            <a:ext cx="1401497" cy="1401497"/>
            <a:chOff x="2045138" y="3862319"/>
            <a:chExt cx="1401497" cy="1401497"/>
          </a:xfrm>
        </p:grpSpPr>
        <p:sp>
          <p:nvSpPr>
            <p:cNvPr id="25" name="Ellipse 76">
              <a:extLst>
                <a:ext uri="{FF2B5EF4-FFF2-40B4-BE49-F238E27FC236}">
                  <a16:creationId xmlns:a16="http://schemas.microsoft.com/office/drawing/2014/main" id="{846FC3B4-AC88-EB41-8C16-3F6D16C6FF2D}"/>
                </a:ext>
              </a:extLst>
            </p:cNvPr>
            <p:cNvSpPr>
              <a:spLocks/>
            </p:cNvSpPr>
            <p:nvPr/>
          </p:nvSpPr>
          <p:spPr bwMode="auto">
            <a:xfrm>
              <a:off x="2045138" y="3862319"/>
              <a:ext cx="1401497" cy="1401497"/>
            </a:xfrm>
            <a:prstGeom prst="ellipse">
              <a:avLst/>
            </a:prstGeom>
            <a:solidFill>
              <a:srgbClr val="CACACA"/>
            </a:solidFill>
            <a:ln w="9525" cap="flat" cmpd="sng" algn="ctr">
              <a:solidFill>
                <a:schemeClr val="bg1"/>
              </a:solidFill>
              <a:prstDash val="solid"/>
              <a:round/>
              <a:headEnd type="none" w="med" len="med"/>
              <a:tailEnd type="none" w="med" len="med"/>
            </a:ln>
            <a:effectLst/>
          </p:spPr>
          <p:txBody>
            <a:bodyPr vert="horz" wrap="none" lIns="76686" tIns="38575" rIns="75409" bIns="38575" numCol="1" rtlCol="0" anchor="ctr" anchorCtr="0" compatLnSpc="1">
              <a:prstTxWarp prst="textNoShape">
                <a:avLst/>
              </a:prstTxWarp>
            </a:bodyPr>
            <a:lstStyle/>
            <a:p>
              <a:pPr algn="ctr" defTabSz="994766" fontAlgn="base">
                <a:spcBef>
                  <a:spcPct val="0"/>
                </a:spcBef>
                <a:spcAft>
                  <a:spcPct val="0"/>
                </a:spcAft>
                <a:buClr>
                  <a:srgbClr val="FF8000"/>
                </a:buClr>
                <a:buSzPct val="75000"/>
                <a:defRPr/>
              </a:pPr>
              <a:endParaRPr lang="de-DE" sz="3198" b="1" dirty="0">
                <a:solidFill>
                  <a:srgbClr val="FFFFFF"/>
                </a:solidFill>
                <a:latin typeface="Arial" charset="0"/>
              </a:endParaRPr>
            </a:p>
          </p:txBody>
        </p:sp>
        <p:pic>
          <p:nvPicPr>
            <p:cNvPr id="49" name="Grafik 48">
              <a:extLst>
                <a:ext uri="{FF2B5EF4-FFF2-40B4-BE49-F238E27FC236}">
                  <a16:creationId xmlns:a16="http://schemas.microsoft.com/office/drawing/2014/main" id="{3087FD62-EA99-0349-A8F6-36414E78BA5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209892" y="4027073"/>
              <a:ext cx="1071989" cy="1071989"/>
            </a:xfrm>
            <a:prstGeom prst="rect">
              <a:avLst/>
            </a:prstGeom>
          </p:spPr>
        </p:pic>
      </p:grpSp>
      <p:sp>
        <p:nvSpPr>
          <p:cNvPr id="51" name="Textfeld 50">
            <a:extLst>
              <a:ext uri="{FF2B5EF4-FFF2-40B4-BE49-F238E27FC236}">
                <a16:creationId xmlns:a16="http://schemas.microsoft.com/office/drawing/2014/main" id="{EEC16045-19E3-5A47-A3D6-D9B1960B22F9}"/>
              </a:ext>
            </a:extLst>
          </p:cNvPr>
          <p:cNvSpPr txBox="1"/>
          <p:nvPr/>
        </p:nvSpPr>
        <p:spPr>
          <a:xfrm>
            <a:off x="6166945" y="2096784"/>
            <a:ext cx="5118537" cy="3970318"/>
          </a:xfrm>
          <a:prstGeom prst="rect">
            <a:avLst/>
          </a:prstGeom>
          <a:noFill/>
        </p:spPr>
        <p:txBody>
          <a:bodyPr wrap="square" rtlCol="0">
            <a:spAutoFit/>
          </a:bodyPr>
          <a:lstStyle/>
          <a:p>
            <a:pPr marL="285750" indent="-285750">
              <a:buFont typeface="Arial" panose="020B0604020202020204" pitchFamily="34" charset="0"/>
              <a:buChar char="•"/>
            </a:pPr>
            <a:r>
              <a:rPr lang="de-DE" altLang="de-DE" dirty="0">
                <a:solidFill>
                  <a:schemeClr val="tx1">
                    <a:lumMod val="65000"/>
                    <a:lumOff val="35000"/>
                  </a:schemeClr>
                </a:solidFill>
                <a:latin typeface="Tahoma"/>
              </a:rPr>
              <a:t>Offene Lernformen </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Differenziertes, individualisiertes Lernmaterial </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Angebote mit verschiedenen Anforderungsniveaus </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Selbstgesteuertes und angeleitetes Lernen im Wechsel </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Erlernen von Lernstrategien </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Sachgerechter Umgang mit Medien </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Kinder als Selbstlerner einbeziehen </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Fundierte Förderung </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Einbezug von Eltern in die Entwicklung von Fördermaßnahmen </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Information über die Ergebnisse der Bildungsförderung</a:t>
            </a:r>
          </a:p>
        </p:txBody>
      </p:sp>
      <p:grpSp>
        <p:nvGrpSpPr>
          <p:cNvPr id="26" name="Gruppieren 25">
            <a:extLst>
              <a:ext uri="{FF2B5EF4-FFF2-40B4-BE49-F238E27FC236}">
                <a16:creationId xmlns:a16="http://schemas.microsoft.com/office/drawing/2014/main" id="{B900F755-2A9B-794B-A72B-3659E95735DD}"/>
              </a:ext>
            </a:extLst>
          </p:cNvPr>
          <p:cNvGrpSpPr/>
          <p:nvPr/>
        </p:nvGrpSpPr>
        <p:grpSpPr>
          <a:xfrm>
            <a:off x="1954938" y="2155978"/>
            <a:ext cx="1401497" cy="1401497"/>
            <a:chOff x="1954938" y="1830161"/>
            <a:chExt cx="1401497" cy="1401497"/>
          </a:xfrm>
        </p:grpSpPr>
        <p:sp>
          <p:nvSpPr>
            <p:cNvPr id="27" name="Ellipse 78">
              <a:extLst>
                <a:ext uri="{FF2B5EF4-FFF2-40B4-BE49-F238E27FC236}">
                  <a16:creationId xmlns:a16="http://schemas.microsoft.com/office/drawing/2014/main" id="{45EE336C-50E0-3E4A-87CA-DAEA554A3E18}"/>
                </a:ext>
              </a:extLst>
            </p:cNvPr>
            <p:cNvSpPr>
              <a:spLocks/>
            </p:cNvSpPr>
            <p:nvPr/>
          </p:nvSpPr>
          <p:spPr bwMode="auto">
            <a:xfrm>
              <a:off x="1954938" y="1830161"/>
              <a:ext cx="1401497" cy="1401497"/>
            </a:xfrm>
            <a:prstGeom prst="ellipse">
              <a:avLst/>
            </a:prstGeom>
            <a:solidFill>
              <a:srgbClr val="DBDBDB"/>
            </a:solidFill>
            <a:ln w="9525" cap="flat" cmpd="sng" algn="ctr">
              <a:solidFill>
                <a:schemeClr val="bg1"/>
              </a:solidFill>
              <a:prstDash val="solid"/>
              <a:round/>
              <a:headEnd type="none" w="med" len="med"/>
              <a:tailEnd type="none" w="med" len="med"/>
            </a:ln>
            <a:effectLst/>
          </p:spPr>
          <p:txBody>
            <a:bodyPr vert="horz" wrap="none" lIns="76686" tIns="38575" rIns="75409" bIns="38575" numCol="1" rtlCol="0" anchor="ctr" anchorCtr="0" compatLnSpc="1">
              <a:prstTxWarp prst="textNoShape">
                <a:avLst/>
              </a:prstTxWarp>
            </a:bodyPr>
            <a:lstStyle/>
            <a:p>
              <a:pPr algn="ctr" defTabSz="994766" fontAlgn="base">
                <a:spcBef>
                  <a:spcPct val="0"/>
                </a:spcBef>
                <a:spcAft>
                  <a:spcPct val="0"/>
                </a:spcAft>
                <a:buClr>
                  <a:srgbClr val="FF8000"/>
                </a:buClr>
                <a:buSzPct val="75000"/>
                <a:defRPr/>
              </a:pPr>
              <a:endParaRPr lang="de-DE" sz="3198" b="1" dirty="0">
                <a:solidFill>
                  <a:srgbClr val="FFFFFF"/>
                </a:solidFill>
                <a:latin typeface="Arial" charset="0"/>
              </a:endParaRPr>
            </a:p>
          </p:txBody>
        </p:sp>
        <p:sp>
          <p:nvSpPr>
            <p:cNvPr id="29" name="Freeform 239">
              <a:extLst>
                <a:ext uri="{FF2B5EF4-FFF2-40B4-BE49-F238E27FC236}">
                  <a16:creationId xmlns:a16="http://schemas.microsoft.com/office/drawing/2014/main" id="{29055243-908D-594F-80EE-9960205A6BA9}"/>
                </a:ext>
              </a:extLst>
            </p:cNvPr>
            <p:cNvSpPr>
              <a:spLocks noEditPoints="1"/>
            </p:cNvSpPr>
            <p:nvPr/>
          </p:nvSpPr>
          <p:spPr bwMode="auto">
            <a:xfrm>
              <a:off x="2297971" y="2197067"/>
              <a:ext cx="715432" cy="667684"/>
            </a:xfrm>
            <a:custGeom>
              <a:avLst/>
              <a:gdLst>
                <a:gd name="T0" fmla="*/ 46 w 169"/>
                <a:gd name="T1" fmla="*/ 76 h 186"/>
                <a:gd name="T2" fmla="*/ 50 w 169"/>
                <a:gd name="T3" fmla="*/ 72 h 186"/>
                <a:gd name="T4" fmla="*/ 50 w 169"/>
                <a:gd name="T5" fmla="*/ 55 h 186"/>
                <a:gd name="T6" fmla="*/ 46 w 169"/>
                <a:gd name="T7" fmla="*/ 51 h 186"/>
                <a:gd name="T8" fmla="*/ 42 w 169"/>
                <a:gd name="T9" fmla="*/ 55 h 186"/>
                <a:gd name="T10" fmla="*/ 42 w 169"/>
                <a:gd name="T11" fmla="*/ 72 h 186"/>
                <a:gd name="T12" fmla="*/ 46 w 169"/>
                <a:gd name="T13" fmla="*/ 76 h 186"/>
                <a:gd name="T14" fmla="*/ 122 w 169"/>
                <a:gd name="T15" fmla="*/ 76 h 186"/>
                <a:gd name="T16" fmla="*/ 126 w 169"/>
                <a:gd name="T17" fmla="*/ 72 h 186"/>
                <a:gd name="T18" fmla="*/ 126 w 169"/>
                <a:gd name="T19" fmla="*/ 55 h 186"/>
                <a:gd name="T20" fmla="*/ 122 w 169"/>
                <a:gd name="T21" fmla="*/ 51 h 186"/>
                <a:gd name="T22" fmla="*/ 118 w 169"/>
                <a:gd name="T23" fmla="*/ 55 h 186"/>
                <a:gd name="T24" fmla="*/ 118 w 169"/>
                <a:gd name="T25" fmla="*/ 72 h 186"/>
                <a:gd name="T26" fmla="*/ 122 w 169"/>
                <a:gd name="T27" fmla="*/ 76 h 186"/>
                <a:gd name="T28" fmla="*/ 160 w 169"/>
                <a:gd name="T29" fmla="*/ 26 h 186"/>
                <a:gd name="T30" fmla="*/ 98 w 169"/>
                <a:gd name="T31" fmla="*/ 26 h 186"/>
                <a:gd name="T32" fmla="*/ 111 w 169"/>
                <a:gd name="T33" fmla="*/ 6 h 186"/>
                <a:gd name="T34" fmla="*/ 105 w 169"/>
                <a:gd name="T35" fmla="*/ 0 h 186"/>
                <a:gd name="T36" fmla="*/ 88 w 169"/>
                <a:gd name="T37" fmla="*/ 26 h 186"/>
                <a:gd name="T38" fmla="*/ 8 w 169"/>
                <a:gd name="T39" fmla="*/ 26 h 186"/>
                <a:gd name="T40" fmla="*/ 0 w 169"/>
                <a:gd name="T41" fmla="*/ 34 h 186"/>
                <a:gd name="T42" fmla="*/ 0 w 169"/>
                <a:gd name="T43" fmla="*/ 152 h 186"/>
                <a:gd name="T44" fmla="*/ 8 w 169"/>
                <a:gd name="T45" fmla="*/ 161 h 186"/>
                <a:gd name="T46" fmla="*/ 95 w 169"/>
                <a:gd name="T47" fmla="*/ 161 h 186"/>
                <a:gd name="T48" fmla="*/ 105 w 169"/>
                <a:gd name="T49" fmla="*/ 186 h 186"/>
                <a:gd name="T50" fmla="*/ 112 w 169"/>
                <a:gd name="T51" fmla="*/ 182 h 186"/>
                <a:gd name="T52" fmla="*/ 104 w 169"/>
                <a:gd name="T53" fmla="*/ 161 h 186"/>
                <a:gd name="T54" fmla="*/ 160 w 169"/>
                <a:gd name="T55" fmla="*/ 161 h 186"/>
                <a:gd name="T56" fmla="*/ 169 w 169"/>
                <a:gd name="T57" fmla="*/ 152 h 186"/>
                <a:gd name="T58" fmla="*/ 169 w 169"/>
                <a:gd name="T59" fmla="*/ 34 h 186"/>
                <a:gd name="T60" fmla="*/ 160 w 169"/>
                <a:gd name="T61" fmla="*/ 26 h 186"/>
                <a:gd name="T62" fmla="*/ 84 w 169"/>
                <a:gd name="T63" fmla="*/ 135 h 186"/>
                <a:gd name="T64" fmla="*/ 92 w 169"/>
                <a:gd name="T65" fmla="*/ 135 h 186"/>
                <a:gd name="T66" fmla="*/ 93 w 169"/>
                <a:gd name="T67" fmla="*/ 152 h 186"/>
                <a:gd name="T68" fmla="*/ 8 w 169"/>
                <a:gd name="T69" fmla="*/ 152 h 186"/>
                <a:gd name="T70" fmla="*/ 8 w 169"/>
                <a:gd name="T71" fmla="*/ 34 h 186"/>
                <a:gd name="T72" fmla="*/ 83 w 169"/>
                <a:gd name="T73" fmla="*/ 34 h 186"/>
                <a:gd name="T74" fmla="*/ 64 w 169"/>
                <a:gd name="T75" fmla="*/ 101 h 186"/>
                <a:gd name="T76" fmla="*/ 63 w 169"/>
                <a:gd name="T77" fmla="*/ 106 h 186"/>
                <a:gd name="T78" fmla="*/ 94 w 169"/>
                <a:gd name="T79" fmla="*/ 106 h 186"/>
                <a:gd name="T80" fmla="*/ 92 w 169"/>
                <a:gd name="T81" fmla="*/ 127 h 186"/>
                <a:gd name="T82" fmla="*/ 84 w 169"/>
                <a:gd name="T83" fmla="*/ 127 h 186"/>
                <a:gd name="T84" fmla="*/ 27 w 169"/>
                <a:gd name="T85" fmla="*/ 115 h 186"/>
                <a:gd name="T86" fmla="*/ 23 w 169"/>
                <a:gd name="T87" fmla="*/ 122 h 186"/>
                <a:gd name="T88" fmla="*/ 84 w 169"/>
                <a:gd name="T89" fmla="*/ 135 h 186"/>
                <a:gd name="T90" fmla="*/ 160 w 169"/>
                <a:gd name="T91" fmla="*/ 152 h 186"/>
                <a:gd name="T92" fmla="*/ 102 w 169"/>
                <a:gd name="T93" fmla="*/ 152 h 186"/>
                <a:gd name="T94" fmla="*/ 100 w 169"/>
                <a:gd name="T95" fmla="*/ 134 h 186"/>
                <a:gd name="T96" fmla="*/ 145 w 169"/>
                <a:gd name="T97" fmla="*/ 122 h 186"/>
                <a:gd name="T98" fmla="*/ 141 w 169"/>
                <a:gd name="T99" fmla="*/ 115 h 186"/>
                <a:gd name="T100" fmla="*/ 100 w 169"/>
                <a:gd name="T101" fmla="*/ 126 h 186"/>
                <a:gd name="T102" fmla="*/ 103 w 169"/>
                <a:gd name="T103" fmla="*/ 103 h 186"/>
                <a:gd name="T104" fmla="*/ 104 w 169"/>
                <a:gd name="T105" fmla="*/ 98 h 186"/>
                <a:gd name="T106" fmla="*/ 73 w 169"/>
                <a:gd name="T107" fmla="*/ 98 h 186"/>
                <a:gd name="T108" fmla="*/ 93 w 169"/>
                <a:gd name="T109" fmla="*/ 34 h 186"/>
                <a:gd name="T110" fmla="*/ 160 w 169"/>
                <a:gd name="T111" fmla="*/ 34 h 186"/>
                <a:gd name="T112" fmla="*/ 160 w 169"/>
                <a:gd name="T113" fmla="*/ 15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9" h="186">
                  <a:moveTo>
                    <a:pt x="46" y="76"/>
                  </a:moveTo>
                  <a:cubicBezTo>
                    <a:pt x="49" y="76"/>
                    <a:pt x="50" y="75"/>
                    <a:pt x="50" y="72"/>
                  </a:cubicBezTo>
                  <a:cubicBezTo>
                    <a:pt x="50" y="55"/>
                    <a:pt x="50" y="55"/>
                    <a:pt x="50" y="55"/>
                  </a:cubicBezTo>
                  <a:cubicBezTo>
                    <a:pt x="50" y="53"/>
                    <a:pt x="49" y="51"/>
                    <a:pt x="46" y="51"/>
                  </a:cubicBezTo>
                  <a:cubicBezTo>
                    <a:pt x="44" y="51"/>
                    <a:pt x="42" y="53"/>
                    <a:pt x="42" y="55"/>
                  </a:cubicBezTo>
                  <a:cubicBezTo>
                    <a:pt x="42" y="72"/>
                    <a:pt x="42" y="72"/>
                    <a:pt x="42" y="72"/>
                  </a:cubicBezTo>
                  <a:cubicBezTo>
                    <a:pt x="42" y="75"/>
                    <a:pt x="44" y="76"/>
                    <a:pt x="46" y="76"/>
                  </a:cubicBezTo>
                  <a:close/>
                  <a:moveTo>
                    <a:pt x="122" y="76"/>
                  </a:moveTo>
                  <a:cubicBezTo>
                    <a:pt x="125" y="76"/>
                    <a:pt x="126" y="75"/>
                    <a:pt x="126" y="72"/>
                  </a:cubicBezTo>
                  <a:cubicBezTo>
                    <a:pt x="126" y="55"/>
                    <a:pt x="126" y="55"/>
                    <a:pt x="126" y="55"/>
                  </a:cubicBezTo>
                  <a:cubicBezTo>
                    <a:pt x="126" y="53"/>
                    <a:pt x="125" y="51"/>
                    <a:pt x="122" y="51"/>
                  </a:cubicBezTo>
                  <a:cubicBezTo>
                    <a:pt x="120" y="51"/>
                    <a:pt x="118" y="53"/>
                    <a:pt x="118" y="55"/>
                  </a:cubicBezTo>
                  <a:cubicBezTo>
                    <a:pt x="118" y="72"/>
                    <a:pt x="118" y="72"/>
                    <a:pt x="118" y="72"/>
                  </a:cubicBezTo>
                  <a:cubicBezTo>
                    <a:pt x="118" y="75"/>
                    <a:pt x="120" y="76"/>
                    <a:pt x="122" y="76"/>
                  </a:cubicBezTo>
                  <a:close/>
                  <a:moveTo>
                    <a:pt x="160" y="26"/>
                  </a:moveTo>
                  <a:cubicBezTo>
                    <a:pt x="98" y="26"/>
                    <a:pt x="98" y="26"/>
                    <a:pt x="98" y="26"/>
                  </a:cubicBezTo>
                  <a:cubicBezTo>
                    <a:pt x="105" y="13"/>
                    <a:pt x="111" y="6"/>
                    <a:pt x="111" y="6"/>
                  </a:cubicBezTo>
                  <a:cubicBezTo>
                    <a:pt x="105" y="0"/>
                    <a:pt x="105" y="0"/>
                    <a:pt x="105" y="0"/>
                  </a:cubicBezTo>
                  <a:cubicBezTo>
                    <a:pt x="104" y="1"/>
                    <a:pt x="96" y="10"/>
                    <a:pt x="88" y="26"/>
                  </a:cubicBezTo>
                  <a:cubicBezTo>
                    <a:pt x="8" y="26"/>
                    <a:pt x="8" y="26"/>
                    <a:pt x="8" y="26"/>
                  </a:cubicBezTo>
                  <a:cubicBezTo>
                    <a:pt x="4" y="26"/>
                    <a:pt x="0" y="30"/>
                    <a:pt x="0" y="34"/>
                  </a:cubicBezTo>
                  <a:cubicBezTo>
                    <a:pt x="0" y="152"/>
                    <a:pt x="0" y="152"/>
                    <a:pt x="0" y="152"/>
                  </a:cubicBezTo>
                  <a:cubicBezTo>
                    <a:pt x="0" y="157"/>
                    <a:pt x="4" y="161"/>
                    <a:pt x="8" y="161"/>
                  </a:cubicBezTo>
                  <a:cubicBezTo>
                    <a:pt x="95" y="161"/>
                    <a:pt x="95" y="161"/>
                    <a:pt x="95" y="161"/>
                  </a:cubicBezTo>
                  <a:cubicBezTo>
                    <a:pt x="97" y="169"/>
                    <a:pt x="100" y="178"/>
                    <a:pt x="105" y="186"/>
                  </a:cubicBezTo>
                  <a:cubicBezTo>
                    <a:pt x="112" y="182"/>
                    <a:pt x="112" y="182"/>
                    <a:pt x="112" y="182"/>
                  </a:cubicBezTo>
                  <a:cubicBezTo>
                    <a:pt x="108" y="175"/>
                    <a:pt x="105" y="168"/>
                    <a:pt x="104" y="161"/>
                  </a:cubicBezTo>
                  <a:cubicBezTo>
                    <a:pt x="160" y="161"/>
                    <a:pt x="160" y="161"/>
                    <a:pt x="160" y="161"/>
                  </a:cubicBezTo>
                  <a:cubicBezTo>
                    <a:pt x="165" y="161"/>
                    <a:pt x="169" y="157"/>
                    <a:pt x="169" y="152"/>
                  </a:cubicBezTo>
                  <a:cubicBezTo>
                    <a:pt x="169" y="34"/>
                    <a:pt x="169" y="34"/>
                    <a:pt x="169" y="34"/>
                  </a:cubicBezTo>
                  <a:cubicBezTo>
                    <a:pt x="169" y="30"/>
                    <a:pt x="165" y="26"/>
                    <a:pt x="160" y="26"/>
                  </a:cubicBezTo>
                  <a:close/>
                  <a:moveTo>
                    <a:pt x="84" y="135"/>
                  </a:moveTo>
                  <a:cubicBezTo>
                    <a:pt x="87" y="135"/>
                    <a:pt x="89" y="135"/>
                    <a:pt x="92" y="135"/>
                  </a:cubicBezTo>
                  <a:cubicBezTo>
                    <a:pt x="92" y="141"/>
                    <a:pt x="92" y="146"/>
                    <a:pt x="93" y="152"/>
                  </a:cubicBezTo>
                  <a:cubicBezTo>
                    <a:pt x="8" y="152"/>
                    <a:pt x="8" y="152"/>
                    <a:pt x="8" y="152"/>
                  </a:cubicBezTo>
                  <a:cubicBezTo>
                    <a:pt x="8" y="34"/>
                    <a:pt x="8" y="34"/>
                    <a:pt x="8" y="34"/>
                  </a:cubicBezTo>
                  <a:cubicBezTo>
                    <a:pt x="83" y="34"/>
                    <a:pt x="83" y="34"/>
                    <a:pt x="83" y="34"/>
                  </a:cubicBezTo>
                  <a:cubicBezTo>
                    <a:pt x="75" y="51"/>
                    <a:pt x="66" y="74"/>
                    <a:pt x="64" y="101"/>
                  </a:cubicBezTo>
                  <a:cubicBezTo>
                    <a:pt x="63" y="106"/>
                    <a:pt x="63" y="106"/>
                    <a:pt x="63" y="106"/>
                  </a:cubicBezTo>
                  <a:cubicBezTo>
                    <a:pt x="94" y="106"/>
                    <a:pt x="94" y="106"/>
                    <a:pt x="94" y="106"/>
                  </a:cubicBezTo>
                  <a:cubicBezTo>
                    <a:pt x="93" y="111"/>
                    <a:pt x="92" y="118"/>
                    <a:pt x="92" y="127"/>
                  </a:cubicBezTo>
                  <a:cubicBezTo>
                    <a:pt x="89" y="127"/>
                    <a:pt x="87" y="127"/>
                    <a:pt x="84" y="127"/>
                  </a:cubicBezTo>
                  <a:cubicBezTo>
                    <a:pt x="52" y="127"/>
                    <a:pt x="27" y="115"/>
                    <a:pt x="27" y="115"/>
                  </a:cubicBezTo>
                  <a:cubicBezTo>
                    <a:pt x="23" y="122"/>
                    <a:pt x="23" y="122"/>
                    <a:pt x="23" y="122"/>
                  </a:cubicBezTo>
                  <a:cubicBezTo>
                    <a:pt x="24" y="123"/>
                    <a:pt x="50" y="135"/>
                    <a:pt x="84" y="135"/>
                  </a:cubicBezTo>
                  <a:close/>
                  <a:moveTo>
                    <a:pt x="160" y="152"/>
                  </a:moveTo>
                  <a:cubicBezTo>
                    <a:pt x="102" y="152"/>
                    <a:pt x="102" y="152"/>
                    <a:pt x="102" y="152"/>
                  </a:cubicBezTo>
                  <a:cubicBezTo>
                    <a:pt x="101" y="146"/>
                    <a:pt x="100" y="140"/>
                    <a:pt x="100" y="134"/>
                  </a:cubicBezTo>
                  <a:cubicBezTo>
                    <a:pt x="126" y="131"/>
                    <a:pt x="144" y="123"/>
                    <a:pt x="145" y="122"/>
                  </a:cubicBezTo>
                  <a:cubicBezTo>
                    <a:pt x="141" y="115"/>
                    <a:pt x="141" y="115"/>
                    <a:pt x="141" y="115"/>
                  </a:cubicBezTo>
                  <a:cubicBezTo>
                    <a:pt x="141" y="115"/>
                    <a:pt x="124" y="123"/>
                    <a:pt x="100" y="126"/>
                  </a:cubicBezTo>
                  <a:cubicBezTo>
                    <a:pt x="101" y="112"/>
                    <a:pt x="103" y="103"/>
                    <a:pt x="103" y="103"/>
                  </a:cubicBezTo>
                  <a:cubicBezTo>
                    <a:pt x="104" y="98"/>
                    <a:pt x="104" y="98"/>
                    <a:pt x="104" y="98"/>
                  </a:cubicBezTo>
                  <a:cubicBezTo>
                    <a:pt x="73" y="98"/>
                    <a:pt x="73" y="98"/>
                    <a:pt x="73" y="98"/>
                  </a:cubicBezTo>
                  <a:cubicBezTo>
                    <a:pt x="76" y="72"/>
                    <a:pt x="85" y="50"/>
                    <a:pt x="93" y="34"/>
                  </a:cubicBezTo>
                  <a:cubicBezTo>
                    <a:pt x="160" y="34"/>
                    <a:pt x="160" y="34"/>
                    <a:pt x="160" y="34"/>
                  </a:cubicBezTo>
                  <a:lnTo>
                    <a:pt x="160" y="152"/>
                  </a:lnTo>
                  <a:close/>
                </a:path>
              </a:pathLst>
            </a:custGeom>
            <a:solidFill>
              <a:schemeClr val="bg1"/>
            </a:solidFill>
            <a:ln>
              <a:noFill/>
            </a:ln>
          </p:spPr>
          <p:txBody>
            <a:bodyPr vert="horz" wrap="square" lIns="100796" tIns="50398" rIns="100796" bIns="50398" numCol="1" anchor="t" anchorCtr="0" compatLnSpc="1">
              <a:prstTxWarp prst="textNoShape">
                <a:avLst/>
              </a:prstTxWarp>
            </a:bodyPr>
            <a:lstStyle/>
            <a:p>
              <a:endParaRPr lang="en-US" sz="1984"/>
            </a:p>
          </p:txBody>
        </p:sp>
      </p:grpSp>
      <p:grpSp>
        <p:nvGrpSpPr>
          <p:cNvPr id="4" name="Gruppieren 3">
            <a:extLst>
              <a:ext uri="{FF2B5EF4-FFF2-40B4-BE49-F238E27FC236}">
                <a16:creationId xmlns:a16="http://schemas.microsoft.com/office/drawing/2014/main" id="{D03FCFF5-CB33-544A-AF52-395B3B603557}"/>
              </a:ext>
            </a:extLst>
          </p:cNvPr>
          <p:cNvGrpSpPr/>
          <p:nvPr/>
        </p:nvGrpSpPr>
        <p:grpSpPr>
          <a:xfrm>
            <a:off x="2880029" y="2486205"/>
            <a:ext cx="2616183" cy="2494871"/>
            <a:chOff x="2880029" y="2622836"/>
            <a:chExt cx="2616183" cy="2494871"/>
          </a:xfrm>
        </p:grpSpPr>
        <p:grpSp>
          <p:nvGrpSpPr>
            <p:cNvPr id="45" name="Gruppieren 44">
              <a:extLst>
                <a:ext uri="{FF2B5EF4-FFF2-40B4-BE49-F238E27FC236}">
                  <a16:creationId xmlns:a16="http://schemas.microsoft.com/office/drawing/2014/main" id="{12B06F70-C9CE-A942-B46D-34ACBC4C3D15}"/>
                </a:ext>
              </a:extLst>
            </p:cNvPr>
            <p:cNvGrpSpPr/>
            <p:nvPr/>
          </p:nvGrpSpPr>
          <p:grpSpPr>
            <a:xfrm>
              <a:off x="2880029" y="2622836"/>
              <a:ext cx="2616183" cy="2494871"/>
              <a:chOff x="3279888" y="4563066"/>
              <a:chExt cx="1992624" cy="1906800"/>
            </a:xfrm>
          </p:grpSpPr>
          <p:pic>
            <p:nvPicPr>
              <p:cNvPr id="43" name="Grafik 42" descr="Ein Bild, das Text, Boden, Person, drinnen enthält.&#10;&#10;Automatisch generierte Beschreibung">
                <a:extLst>
                  <a:ext uri="{FF2B5EF4-FFF2-40B4-BE49-F238E27FC236}">
                    <a16:creationId xmlns:a16="http://schemas.microsoft.com/office/drawing/2014/main" id="{46186273-3090-7F41-BC51-36AE55F8955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279888" y="4563067"/>
                <a:ext cx="1992624" cy="1906799"/>
              </a:xfrm>
              <a:prstGeom prst="ellipse">
                <a:avLst/>
              </a:prstGeom>
            </p:spPr>
          </p:pic>
          <p:sp>
            <p:nvSpPr>
              <p:cNvPr id="44" name="Oval 43">
                <a:extLst>
                  <a:ext uri="{FF2B5EF4-FFF2-40B4-BE49-F238E27FC236}">
                    <a16:creationId xmlns:a16="http://schemas.microsoft.com/office/drawing/2014/main" id="{F0BF1237-BD91-3C42-AE4C-6FD8AFEFFA61}"/>
                  </a:ext>
                </a:extLst>
              </p:cNvPr>
              <p:cNvSpPr/>
              <p:nvPr/>
            </p:nvSpPr>
            <p:spPr>
              <a:xfrm>
                <a:off x="3279888" y="4563066"/>
                <a:ext cx="1992624" cy="1906799"/>
              </a:xfrm>
              <a:prstGeom prst="ellipse">
                <a:avLst/>
              </a:prstGeom>
              <a:solidFill>
                <a:schemeClr val="bg1">
                  <a:lumMod val="65000"/>
                  <a:alpha val="7201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8" name="Ellipse 38">
              <a:extLst>
                <a:ext uri="{FF2B5EF4-FFF2-40B4-BE49-F238E27FC236}">
                  <a16:creationId xmlns:a16="http://schemas.microsoft.com/office/drawing/2014/main" id="{906ABE8F-48A0-E042-9CC9-A10D2EC45B1A}"/>
                </a:ext>
              </a:extLst>
            </p:cNvPr>
            <p:cNvSpPr/>
            <p:nvPr/>
          </p:nvSpPr>
          <p:spPr bwMode="auto">
            <a:xfrm>
              <a:off x="2880030" y="2622836"/>
              <a:ext cx="2616182" cy="2494870"/>
            </a:xfrm>
            <a:prstGeom prst="ellipse">
              <a:avLst/>
            </a:prstGeom>
            <a:noFill/>
            <a:ln w="28575" cap="flat" cmpd="sng" algn="ctr">
              <a:solidFill>
                <a:srgbClr val="FFFFFF"/>
              </a:solidFill>
              <a:prstDash val="solid"/>
              <a:round/>
              <a:headEnd type="none" w="med" len="med"/>
              <a:tailEnd type="none" w="med" len="med"/>
            </a:ln>
            <a:effectLst/>
          </p:spPr>
          <p:txBody>
            <a:bodyPr vert="horz" wrap="none" lIns="104334" tIns="52483" rIns="102598" bIns="52483" numCol="1" rtlCol="0" anchor="ctr" anchorCtr="0" compatLnSpc="1">
              <a:prstTxWarp prst="textNoShape">
                <a:avLst/>
              </a:prstTxWarp>
            </a:bodyPr>
            <a:lstStyle/>
            <a:p>
              <a:pPr marL="0" marR="0" lvl="0" indent="0" algn="ctr" defTabSz="994766" eaLnBrk="1" fontAlgn="base" latinLnBrk="0" hangingPunct="1">
                <a:lnSpc>
                  <a:spcPct val="100000"/>
                </a:lnSpc>
                <a:spcBef>
                  <a:spcPct val="0"/>
                </a:spcBef>
                <a:spcAft>
                  <a:spcPct val="0"/>
                </a:spcAft>
                <a:buClr>
                  <a:srgbClr val="FF8000"/>
                </a:buClr>
                <a:buSzPct val="75000"/>
                <a:buFontTx/>
                <a:buNone/>
                <a:tabLst/>
                <a:defRPr/>
              </a:pPr>
              <a:endParaRPr kumimoji="0" lang="de-DE" sz="3198" b="1" i="0" u="none" strike="noStrike" kern="0" cap="none" spc="0" normalizeH="0" baseline="0" noProof="0" dirty="0">
                <a:ln>
                  <a:noFill/>
                </a:ln>
                <a:solidFill>
                  <a:srgbClr val="FFFFFF"/>
                </a:solidFill>
                <a:effectLst/>
                <a:uLnTx/>
                <a:uFillTx/>
                <a:latin typeface="Arial" charset="0"/>
              </a:endParaRPr>
            </a:p>
          </p:txBody>
        </p:sp>
      </p:grpSp>
    </p:spTree>
    <p:extLst>
      <p:ext uri="{BB962C8B-B14F-4D97-AF65-F5344CB8AC3E}">
        <p14:creationId xmlns:p14="http://schemas.microsoft.com/office/powerpoint/2010/main" val="3753150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F8E01B9D-5B0D-ED48-93FD-8B9F129C122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179"/>
          <a:stretch/>
        </p:blipFill>
        <p:spPr>
          <a:xfrm>
            <a:off x="-23924" y="220711"/>
            <a:ext cx="12384090" cy="1452195"/>
          </a:xfrm>
          <a:prstGeom prst="rect">
            <a:avLst/>
          </a:prstGeom>
        </p:spPr>
      </p:pic>
      <p:sp>
        <p:nvSpPr>
          <p:cNvPr id="53" name="Rectangle 21">
            <a:extLst>
              <a:ext uri="{FF2B5EF4-FFF2-40B4-BE49-F238E27FC236}">
                <a16:creationId xmlns:a16="http://schemas.microsoft.com/office/drawing/2014/main" id="{66D3B711-11C4-0A42-9372-FA79243F9672}"/>
              </a:ext>
            </a:extLst>
          </p:cNvPr>
          <p:cNvSpPr/>
          <p:nvPr/>
        </p:nvSpPr>
        <p:spPr bwMode="auto">
          <a:xfrm>
            <a:off x="-23925" y="209637"/>
            <a:ext cx="12239849" cy="1452196"/>
          </a:xfrm>
          <a:prstGeom prst="rect">
            <a:avLst/>
          </a:prstGeom>
          <a:solidFill>
            <a:schemeClr val="tx2">
              <a:lumMod val="60000"/>
              <a:lumOff val="40000"/>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2" name="Titel 1">
            <a:extLst>
              <a:ext uri="{FF2B5EF4-FFF2-40B4-BE49-F238E27FC236}">
                <a16:creationId xmlns:a16="http://schemas.microsoft.com/office/drawing/2014/main" id="{8DBD732E-255D-5641-835F-7822FEFB1A84}"/>
              </a:ext>
            </a:extLst>
          </p:cNvPr>
          <p:cNvSpPr>
            <a:spLocks noGrp="1"/>
          </p:cNvSpPr>
          <p:nvPr>
            <p:ph type="title"/>
          </p:nvPr>
        </p:nvSpPr>
        <p:spPr>
          <a:xfrm>
            <a:off x="373172" y="771272"/>
            <a:ext cx="11445656" cy="797082"/>
          </a:xfrm>
        </p:spPr>
        <p:txBody>
          <a:bodyPr/>
          <a:lstStyle/>
          <a:p>
            <a:r>
              <a:rPr lang="de-DE" dirty="0">
                <a:solidFill>
                  <a:schemeClr val="bg1"/>
                </a:solidFill>
                <a:latin typeface="Tahoma" panose="020B0604030504040204" pitchFamily="34" charset="0"/>
                <a:ea typeface="Tahoma" panose="020B0604030504040204" pitchFamily="34" charset="0"/>
                <a:cs typeface="Tahoma" panose="020B0604030504040204" pitchFamily="34" charset="0"/>
              </a:rPr>
              <a:t>Vorbereiten und Stärken für den Schulbeginn  </a:t>
            </a:r>
            <a:br>
              <a:rPr lang="de-DE" dirty="0">
                <a:solidFill>
                  <a:schemeClr val="bg1"/>
                </a:solidFill>
                <a:latin typeface="Tahoma" panose="020B0604030504040204" pitchFamily="34" charset="0"/>
                <a:ea typeface="Tahoma" panose="020B0604030504040204" pitchFamily="34" charset="0"/>
                <a:cs typeface="Tahoma" panose="020B0604030504040204" pitchFamily="34" charset="0"/>
              </a:rPr>
            </a:br>
            <a:r>
              <a:rPr lang="de-DE" dirty="0">
                <a:solidFill>
                  <a:schemeClr val="bg1"/>
                </a:solidFill>
                <a:latin typeface="Tahoma" panose="020B0604030504040204" pitchFamily="34" charset="0"/>
                <a:ea typeface="Tahoma" panose="020B0604030504040204" pitchFamily="34" charset="0"/>
                <a:cs typeface="Tahoma" panose="020B0604030504040204" pitchFamily="34" charset="0"/>
              </a:rPr>
              <a:t>-gesprochene und geschriebene Sprache-</a:t>
            </a:r>
          </a:p>
        </p:txBody>
      </p:sp>
      <p:sp>
        <p:nvSpPr>
          <p:cNvPr id="3" name="Textplatzhalter 2">
            <a:extLst>
              <a:ext uri="{FF2B5EF4-FFF2-40B4-BE49-F238E27FC236}">
                <a16:creationId xmlns:a16="http://schemas.microsoft.com/office/drawing/2014/main" id="{372F9084-4CAF-5A4B-B2B8-887F658B4A98}"/>
              </a:ext>
            </a:extLst>
          </p:cNvPr>
          <p:cNvSpPr>
            <a:spLocks noGrp="1"/>
          </p:cNvSpPr>
          <p:nvPr>
            <p:ph type="body" sz="quarter" idx="10"/>
          </p:nvPr>
        </p:nvSpPr>
        <p:spPr>
          <a:xfrm>
            <a:off x="373172" y="369140"/>
            <a:ext cx="5334843" cy="314948"/>
          </a:xfrm>
        </p:spPr>
        <p:txBody>
          <a:bodyPr/>
          <a:lstStyle/>
          <a:p>
            <a:r>
              <a:rPr lang="de-DE" dirty="0">
                <a:solidFill>
                  <a:schemeClr val="bg1"/>
                </a:solidFill>
              </a:rPr>
              <a:t>GRUNDSCHULE</a:t>
            </a:r>
          </a:p>
        </p:txBody>
      </p:sp>
      <p:grpSp>
        <p:nvGrpSpPr>
          <p:cNvPr id="35" name="Gruppieren 34">
            <a:extLst>
              <a:ext uri="{FF2B5EF4-FFF2-40B4-BE49-F238E27FC236}">
                <a16:creationId xmlns:a16="http://schemas.microsoft.com/office/drawing/2014/main" id="{F71E316C-7883-2C45-A8E5-52265394BD48}"/>
              </a:ext>
            </a:extLst>
          </p:cNvPr>
          <p:cNvGrpSpPr/>
          <p:nvPr/>
        </p:nvGrpSpPr>
        <p:grpSpPr>
          <a:xfrm>
            <a:off x="5382112" y="2313938"/>
            <a:ext cx="383575" cy="3318668"/>
            <a:chOff x="4818963" y="2170323"/>
            <a:chExt cx="383817" cy="3320759"/>
          </a:xfrm>
        </p:grpSpPr>
        <p:cxnSp>
          <p:nvCxnSpPr>
            <p:cNvPr id="36" name="Straight Connector 12">
              <a:extLst>
                <a:ext uri="{FF2B5EF4-FFF2-40B4-BE49-F238E27FC236}">
                  <a16:creationId xmlns:a16="http://schemas.microsoft.com/office/drawing/2014/main" id="{C0CE0D2F-9C6A-324C-AA54-45D6E0C7A8BA}"/>
                </a:ext>
              </a:extLst>
            </p:cNvPr>
            <p:cNvCxnSpPr>
              <a:cxnSpLocks/>
            </p:cNvCxnSpPr>
            <p:nvPr/>
          </p:nvCxnSpPr>
          <p:spPr bwMode="auto">
            <a:xfrm>
              <a:off x="4818963" y="3741668"/>
              <a:ext cx="360000" cy="0"/>
            </a:xfrm>
            <a:prstGeom prst="line">
              <a:avLst/>
            </a:prstGeom>
            <a:solidFill>
              <a:srgbClr val="FFFFFF"/>
            </a:solidFill>
            <a:ln w="19050" cap="flat" cmpd="sng" algn="ctr">
              <a:solidFill>
                <a:schemeClr val="tx2"/>
              </a:solidFill>
              <a:prstDash val="solid"/>
              <a:round/>
              <a:headEnd type="none" w="med" len="med"/>
              <a:tailEnd type="none" w="med" len="med"/>
            </a:ln>
            <a:effectLst/>
          </p:spPr>
        </p:cxnSp>
        <p:cxnSp>
          <p:nvCxnSpPr>
            <p:cNvPr id="37" name="Straight Connector 49">
              <a:extLst>
                <a:ext uri="{FF2B5EF4-FFF2-40B4-BE49-F238E27FC236}">
                  <a16:creationId xmlns:a16="http://schemas.microsoft.com/office/drawing/2014/main" id="{545E32B8-D236-9949-A410-0E19F69635AB}"/>
                </a:ext>
              </a:extLst>
            </p:cNvPr>
            <p:cNvCxnSpPr>
              <a:cxnSpLocks/>
            </p:cNvCxnSpPr>
            <p:nvPr/>
          </p:nvCxnSpPr>
          <p:spPr bwMode="auto">
            <a:xfrm>
              <a:off x="5202780" y="2170323"/>
              <a:ext cx="0" cy="3320759"/>
            </a:xfrm>
            <a:prstGeom prst="line">
              <a:avLst/>
            </a:prstGeom>
            <a:solidFill>
              <a:srgbClr val="FFFFFF"/>
            </a:solidFill>
            <a:ln w="19050" cap="flat" cmpd="sng" algn="ctr">
              <a:solidFill>
                <a:schemeClr val="tx2"/>
              </a:solidFill>
              <a:prstDash val="solid"/>
              <a:round/>
              <a:headEnd type="none" w="med" len="med"/>
              <a:tailEnd type="none" w="med" len="med"/>
            </a:ln>
            <a:effectLst/>
          </p:spPr>
        </p:cxnSp>
      </p:grpSp>
      <p:sp>
        <p:nvSpPr>
          <p:cNvPr id="51" name="Textfeld 50">
            <a:extLst>
              <a:ext uri="{FF2B5EF4-FFF2-40B4-BE49-F238E27FC236}">
                <a16:creationId xmlns:a16="http://schemas.microsoft.com/office/drawing/2014/main" id="{EEC16045-19E3-5A47-A3D6-D9B1960B22F9}"/>
              </a:ext>
            </a:extLst>
          </p:cNvPr>
          <p:cNvSpPr txBox="1"/>
          <p:nvPr/>
        </p:nvSpPr>
        <p:spPr>
          <a:xfrm>
            <a:off x="6165037" y="1908944"/>
            <a:ext cx="5118537" cy="4247317"/>
          </a:xfrm>
          <a:prstGeom prst="rect">
            <a:avLst/>
          </a:prstGeom>
          <a:noFill/>
        </p:spPr>
        <p:txBody>
          <a:bodyPr wrap="square" rtlCol="0">
            <a:spAutoFit/>
          </a:bodyPr>
          <a:lstStyle/>
          <a:p>
            <a:pPr marL="285750" indent="-285750">
              <a:buFont typeface="Arial" panose="020B0604020202020204" pitchFamily="34" charset="0"/>
              <a:buChar char="•"/>
            </a:pPr>
            <a:r>
              <a:rPr lang="de-DE" altLang="de-DE" dirty="0">
                <a:solidFill>
                  <a:schemeClr val="tx1">
                    <a:lumMod val="65000"/>
                    <a:lumOff val="35000"/>
                  </a:schemeClr>
                </a:solidFill>
                <a:latin typeface="Tahoma"/>
              </a:rPr>
              <a:t>Sprechen in ganzen Sätzen</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Deutliche Aussprache</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Heraushören von Lauten aus einem Wort</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Wörter in Silben gliedern</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Gesprächsregeln kennen</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Erzählen von kleinen Geschichten und Begebenheiten</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Nachsprechen von Versen und Reimen</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Interesse für Bücher</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Regelmäßige gemeinsame Mahlzeiten</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Sprechanlässe schaffen</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Besprechen von Alltagserlebnissen</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Rollenspiele</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Vorlesen und Erzählen von Geschichten</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Büchereibesuche</a:t>
            </a:r>
          </a:p>
        </p:txBody>
      </p:sp>
      <p:grpSp>
        <p:nvGrpSpPr>
          <p:cNvPr id="5" name="Gruppieren 4">
            <a:extLst>
              <a:ext uri="{FF2B5EF4-FFF2-40B4-BE49-F238E27FC236}">
                <a16:creationId xmlns:a16="http://schemas.microsoft.com/office/drawing/2014/main" id="{954F70F2-23A7-514F-A9B5-DDA5D56F9F50}"/>
              </a:ext>
            </a:extLst>
          </p:cNvPr>
          <p:cNvGrpSpPr/>
          <p:nvPr/>
        </p:nvGrpSpPr>
        <p:grpSpPr>
          <a:xfrm>
            <a:off x="1055897" y="2343368"/>
            <a:ext cx="3600188" cy="3094216"/>
            <a:chOff x="1055897" y="2343368"/>
            <a:chExt cx="3600188" cy="3094216"/>
          </a:xfrm>
        </p:grpSpPr>
        <p:sp>
          <p:nvSpPr>
            <p:cNvPr id="108" name="Shape 804">
              <a:extLst>
                <a:ext uri="{FF2B5EF4-FFF2-40B4-BE49-F238E27FC236}">
                  <a16:creationId xmlns:a16="http://schemas.microsoft.com/office/drawing/2014/main" id="{32E45873-59FC-6645-A55D-762CB73519B1}"/>
                </a:ext>
              </a:extLst>
            </p:cNvPr>
            <p:cNvSpPr/>
            <p:nvPr/>
          </p:nvSpPr>
          <p:spPr>
            <a:xfrm>
              <a:off x="2334886" y="3679220"/>
              <a:ext cx="785441" cy="92864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6302"/>
                  </a:lnTo>
                  <a:lnTo>
                    <a:pt x="9494" y="21358"/>
                  </a:lnTo>
                  <a:cubicBezTo>
                    <a:pt x="9594" y="21327"/>
                    <a:pt x="9697" y="21307"/>
                    <a:pt x="9796" y="21274"/>
                  </a:cubicBezTo>
                  <a:cubicBezTo>
                    <a:pt x="9853" y="21387"/>
                    <a:pt x="9929" y="21489"/>
                    <a:pt x="9990" y="21600"/>
                  </a:cubicBezTo>
                  <a:lnTo>
                    <a:pt x="21600" y="0"/>
                  </a:lnTo>
                  <a:close/>
                </a:path>
              </a:pathLst>
            </a:custGeom>
            <a:solidFill>
              <a:schemeClr val="tx2"/>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09" name="Shape 805">
              <a:extLst>
                <a:ext uri="{FF2B5EF4-FFF2-40B4-BE49-F238E27FC236}">
                  <a16:creationId xmlns:a16="http://schemas.microsoft.com/office/drawing/2014/main" id="{A360BD9B-4809-9E42-8DF2-55EBE2B19D46}"/>
                </a:ext>
              </a:extLst>
            </p:cNvPr>
            <p:cNvSpPr/>
            <p:nvPr/>
          </p:nvSpPr>
          <p:spPr>
            <a:xfrm>
              <a:off x="1608098" y="2725541"/>
              <a:ext cx="725845" cy="1228267"/>
            </a:xfrm>
            <a:custGeom>
              <a:avLst/>
              <a:gdLst/>
              <a:ahLst/>
              <a:cxnLst>
                <a:cxn ang="0">
                  <a:pos x="wd2" y="hd2"/>
                </a:cxn>
                <a:cxn ang="5400000">
                  <a:pos x="wd2" y="hd2"/>
                </a:cxn>
                <a:cxn ang="10800000">
                  <a:pos x="wd2" y="hd2"/>
                </a:cxn>
                <a:cxn ang="16200000">
                  <a:pos x="wd2" y="hd2"/>
                </a:cxn>
              </a:cxnLst>
              <a:rect l="0" t="0" r="r" b="b"/>
              <a:pathLst>
                <a:path w="21600" h="21600" extrusionOk="0">
                  <a:moveTo>
                    <a:pt x="0" y="17070"/>
                  </a:moveTo>
                  <a:lnTo>
                    <a:pt x="5757" y="0"/>
                  </a:lnTo>
                  <a:lnTo>
                    <a:pt x="21600" y="21600"/>
                  </a:lnTo>
                  <a:lnTo>
                    <a:pt x="0" y="17070"/>
                  </a:lnTo>
                  <a:close/>
                </a:path>
              </a:pathLst>
            </a:custGeom>
            <a:solidFill>
              <a:srgbClr val="1A8CFF"/>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10" name="Shape 806">
              <a:extLst>
                <a:ext uri="{FF2B5EF4-FFF2-40B4-BE49-F238E27FC236}">
                  <a16:creationId xmlns:a16="http://schemas.microsoft.com/office/drawing/2014/main" id="{FA2F64A8-F111-E144-92EE-B5821EE1D6C0}"/>
                </a:ext>
              </a:extLst>
            </p:cNvPr>
            <p:cNvSpPr/>
            <p:nvPr/>
          </p:nvSpPr>
          <p:spPr>
            <a:xfrm>
              <a:off x="1601123" y="3694307"/>
              <a:ext cx="727902" cy="636931"/>
            </a:xfrm>
            <a:custGeom>
              <a:avLst/>
              <a:gdLst/>
              <a:ahLst/>
              <a:cxnLst>
                <a:cxn ang="0">
                  <a:pos x="wd2" y="hd2"/>
                </a:cxn>
                <a:cxn ang="5400000">
                  <a:pos x="wd2" y="hd2"/>
                </a:cxn>
                <a:cxn ang="10800000">
                  <a:pos x="wd2" y="hd2"/>
                </a:cxn>
                <a:cxn ang="16200000">
                  <a:pos x="wd2" y="hd2"/>
                </a:cxn>
              </a:cxnLst>
              <a:rect l="0" t="0" r="r" b="b"/>
              <a:pathLst>
                <a:path w="21600" h="21600" extrusionOk="0">
                  <a:moveTo>
                    <a:pt x="10290" y="21600"/>
                  </a:moveTo>
                  <a:lnTo>
                    <a:pt x="21600" y="8774"/>
                  </a:lnTo>
                  <a:lnTo>
                    <a:pt x="0" y="0"/>
                  </a:lnTo>
                  <a:lnTo>
                    <a:pt x="10290" y="21600"/>
                  </a:lnTo>
                  <a:close/>
                </a:path>
              </a:pathLst>
            </a:custGeom>
            <a:solidFill>
              <a:schemeClr val="accent2"/>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11" name="Shape 807">
              <a:extLst>
                <a:ext uri="{FF2B5EF4-FFF2-40B4-BE49-F238E27FC236}">
                  <a16:creationId xmlns:a16="http://schemas.microsoft.com/office/drawing/2014/main" id="{E01D5DFD-6166-044D-84F4-6BDB5EC68415}"/>
                </a:ext>
              </a:extLst>
            </p:cNvPr>
            <p:cNvSpPr/>
            <p:nvPr/>
          </p:nvSpPr>
          <p:spPr>
            <a:xfrm>
              <a:off x="1796986" y="2727727"/>
              <a:ext cx="895128" cy="1230544"/>
            </a:xfrm>
            <a:custGeom>
              <a:avLst/>
              <a:gdLst/>
              <a:ahLst/>
              <a:cxnLst>
                <a:cxn ang="0">
                  <a:pos x="wd2" y="hd2"/>
                </a:cxn>
                <a:cxn ang="5400000">
                  <a:pos x="wd2" y="hd2"/>
                </a:cxn>
                <a:cxn ang="10800000">
                  <a:pos x="wd2" y="hd2"/>
                </a:cxn>
                <a:cxn ang="16200000">
                  <a:pos x="wd2" y="hd2"/>
                </a:cxn>
              </a:cxnLst>
              <a:rect l="0" t="0" r="r" b="b"/>
              <a:pathLst>
                <a:path w="21600" h="21600" extrusionOk="0">
                  <a:moveTo>
                    <a:pt x="21600" y="6635"/>
                  </a:moveTo>
                  <a:lnTo>
                    <a:pt x="12979" y="21600"/>
                  </a:lnTo>
                  <a:lnTo>
                    <a:pt x="0" y="0"/>
                  </a:lnTo>
                  <a:lnTo>
                    <a:pt x="21600" y="6635"/>
                  </a:lnTo>
                  <a:close/>
                </a:path>
              </a:pathLst>
            </a:custGeom>
            <a:solidFill>
              <a:schemeClr val="accent2"/>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12" name="Shape 808">
              <a:extLst>
                <a:ext uri="{FF2B5EF4-FFF2-40B4-BE49-F238E27FC236}">
                  <a16:creationId xmlns:a16="http://schemas.microsoft.com/office/drawing/2014/main" id="{42173676-E91D-3843-9054-7B6B60720CD1}"/>
                </a:ext>
              </a:extLst>
            </p:cNvPr>
            <p:cNvSpPr/>
            <p:nvPr/>
          </p:nvSpPr>
          <p:spPr>
            <a:xfrm>
              <a:off x="2686590" y="3103294"/>
              <a:ext cx="627515" cy="57878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5070" y="21600"/>
                  </a:lnTo>
                  <a:lnTo>
                    <a:pt x="21600" y="5863"/>
                  </a:lnTo>
                  <a:lnTo>
                    <a:pt x="0" y="0"/>
                  </a:lnTo>
                  <a:close/>
                </a:path>
              </a:pathLst>
            </a:custGeom>
            <a:solidFill>
              <a:schemeClr val="accent2"/>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13" name="Shape 809">
              <a:extLst>
                <a:ext uri="{FF2B5EF4-FFF2-40B4-BE49-F238E27FC236}">
                  <a16:creationId xmlns:a16="http://schemas.microsoft.com/office/drawing/2014/main" id="{FB01FFCD-D1C2-654F-B70D-8C8D63A190F3}"/>
                </a:ext>
              </a:extLst>
            </p:cNvPr>
            <p:cNvSpPr/>
            <p:nvPr/>
          </p:nvSpPr>
          <p:spPr>
            <a:xfrm>
              <a:off x="2685673" y="2442075"/>
              <a:ext cx="619862" cy="82336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0779" y="0"/>
                  </a:lnTo>
                  <a:lnTo>
                    <a:pt x="0" y="17347"/>
                  </a:lnTo>
                  <a:lnTo>
                    <a:pt x="21600" y="21600"/>
                  </a:lnTo>
                  <a:close/>
                </a:path>
              </a:pathLst>
            </a:custGeom>
            <a:solidFill>
              <a:schemeClr val="accent1"/>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14" name="Shape 810">
              <a:extLst>
                <a:ext uri="{FF2B5EF4-FFF2-40B4-BE49-F238E27FC236}">
                  <a16:creationId xmlns:a16="http://schemas.microsoft.com/office/drawing/2014/main" id="{6D30F741-229A-F245-9D82-C0F1EE2A84A5}"/>
                </a:ext>
              </a:extLst>
            </p:cNvPr>
            <p:cNvSpPr/>
            <p:nvPr/>
          </p:nvSpPr>
          <p:spPr>
            <a:xfrm>
              <a:off x="3118746" y="3258057"/>
              <a:ext cx="1041014" cy="579733"/>
            </a:xfrm>
            <a:custGeom>
              <a:avLst/>
              <a:gdLst/>
              <a:ahLst/>
              <a:cxnLst>
                <a:cxn ang="0">
                  <a:pos x="wd2" y="hd2"/>
                </a:cxn>
                <a:cxn ang="5400000">
                  <a:pos x="wd2" y="hd2"/>
                </a:cxn>
                <a:cxn ang="10800000">
                  <a:pos x="wd2" y="hd2"/>
                </a:cxn>
                <a:cxn ang="16200000">
                  <a:pos x="wd2" y="hd2"/>
                </a:cxn>
              </a:cxnLst>
              <a:rect l="0" t="0" r="r" b="b"/>
              <a:pathLst>
                <a:path w="21600" h="21600" extrusionOk="0">
                  <a:moveTo>
                    <a:pt x="0" y="15893"/>
                  </a:moveTo>
                  <a:lnTo>
                    <a:pt x="21600" y="21600"/>
                  </a:lnTo>
                  <a:lnTo>
                    <a:pt x="3830" y="0"/>
                  </a:lnTo>
                  <a:lnTo>
                    <a:pt x="0" y="15893"/>
                  </a:lnTo>
                  <a:close/>
                </a:path>
              </a:pathLst>
            </a:custGeom>
            <a:solidFill>
              <a:schemeClr val="accent1">
                <a:lumMod val="75000"/>
              </a:schemeClr>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15" name="Shape 811">
              <a:extLst>
                <a:ext uri="{FF2B5EF4-FFF2-40B4-BE49-F238E27FC236}">
                  <a16:creationId xmlns:a16="http://schemas.microsoft.com/office/drawing/2014/main" id="{E2E692E4-0F2B-AF43-BA0F-D23FB8FFD94A}"/>
                </a:ext>
              </a:extLst>
            </p:cNvPr>
            <p:cNvSpPr/>
            <p:nvPr/>
          </p:nvSpPr>
          <p:spPr>
            <a:xfrm>
              <a:off x="3299019" y="3253443"/>
              <a:ext cx="1048403" cy="526174"/>
            </a:xfrm>
            <a:custGeom>
              <a:avLst/>
              <a:gdLst/>
              <a:ahLst/>
              <a:cxnLst>
                <a:cxn ang="0">
                  <a:pos x="wd2" y="hd2"/>
                </a:cxn>
                <a:cxn ang="5400000">
                  <a:pos x="wd2" y="hd2"/>
                </a:cxn>
                <a:cxn ang="10800000">
                  <a:pos x="wd2" y="hd2"/>
                </a:cxn>
                <a:cxn ang="16200000">
                  <a:pos x="wd2" y="hd2"/>
                </a:cxn>
              </a:cxnLst>
              <a:rect l="0" t="0" r="r" b="b"/>
              <a:pathLst>
                <a:path w="21600" h="21600" extrusionOk="0">
                  <a:moveTo>
                    <a:pt x="15830" y="21600"/>
                  </a:moveTo>
                  <a:lnTo>
                    <a:pt x="21600" y="0"/>
                  </a:lnTo>
                  <a:lnTo>
                    <a:pt x="0" y="160"/>
                  </a:lnTo>
                  <a:lnTo>
                    <a:pt x="15830" y="21600"/>
                  </a:lnTo>
                  <a:close/>
                </a:path>
              </a:pathLst>
            </a:custGeom>
            <a:solidFill>
              <a:schemeClr val="tx2"/>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16" name="Shape 812">
              <a:extLst>
                <a:ext uri="{FF2B5EF4-FFF2-40B4-BE49-F238E27FC236}">
                  <a16:creationId xmlns:a16="http://schemas.microsoft.com/office/drawing/2014/main" id="{2EF6DB1D-7433-AA4D-AC89-15334209CD3F}"/>
                </a:ext>
              </a:extLst>
            </p:cNvPr>
            <p:cNvSpPr/>
            <p:nvPr/>
          </p:nvSpPr>
          <p:spPr>
            <a:xfrm>
              <a:off x="3114743" y="3678948"/>
              <a:ext cx="957307" cy="98766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2271"/>
                  </a:lnTo>
                  <a:lnTo>
                    <a:pt x="12579" y="21600"/>
                  </a:lnTo>
                  <a:lnTo>
                    <a:pt x="0" y="0"/>
                  </a:lnTo>
                  <a:close/>
                </a:path>
              </a:pathLst>
            </a:custGeom>
            <a:solidFill>
              <a:schemeClr val="accent1">
                <a:lumMod val="50000"/>
              </a:schemeClr>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17" name="Shape 813">
              <a:extLst>
                <a:ext uri="{FF2B5EF4-FFF2-40B4-BE49-F238E27FC236}">
                  <a16:creationId xmlns:a16="http://schemas.microsoft.com/office/drawing/2014/main" id="{C6AB9C1D-B0B1-8348-AD87-8D16B9A9275C}"/>
                </a:ext>
              </a:extLst>
            </p:cNvPr>
            <p:cNvSpPr/>
            <p:nvPr/>
          </p:nvSpPr>
          <p:spPr>
            <a:xfrm>
              <a:off x="3616465" y="3779869"/>
              <a:ext cx="699868" cy="96578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3726"/>
                  </a:lnTo>
                  <a:lnTo>
                    <a:pt x="13988" y="0"/>
                  </a:lnTo>
                  <a:lnTo>
                    <a:pt x="0" y="21600"/>
                  </a:lnTo>
                  <a:close/>
                </a:path>
              </a:pathLst>
            </a:custGeom>
            <a:solidFill>
              <a:schemeClr val="accent1"/>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18" name="Shape 814">
              <a:extLst>
                <a:ext uri="{FF2B5EF4-FFF2-40B4-BE49-F238E27FC236}">
                  <a16:creationId xmlns:a16="http://schemas.microsoft.com/office/drawing/2014/main" id="{3DA0B317-DA39-1A41-A19A-DDE46C3E4FF1}"/>
                </a:ext>
              </a:extLst>
            </p:cNvPr>
            <p:cNvSpPr/>
            <p:nvPr/>
          </p:nvSpPr>
          <p:spPr>
            <a:xfrm>
              <a:off x="3114743" y="3676507"/>
              <a:ext cx="576026" cy="120142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17546"/>
                  </a:lnTo>
                  <a:lnTo>
                    <a:pt x="610" y="21600"/>
                  </a:lnTo>
                  <a:lnTo>
                    <a:pt x="0" y="0"/>
                  </a:lnTo>
                  <a:close/>
                </a:path>
              </a:pathLst>
            </a:custGeom>
            <a:solidFill>
              <a:schemeClr val="accent1">
                <a:lumMod val="75000"/>
              </a:schemeClr>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19" name="Shape 815">
              <a:extLst>
                <a:ext uri="{FF2B5EF4-FFF2-40B4-BE49-F238E27FC236}">
                  <a16:creationId xmlns:a16="http://schemas.microsoft.com/office/drawing/2014/main" id="{33927B83-F3CD-5F49-81B7-20E06D1EFBE0}"/>
                </a:ext>
              </a:extLst>
            </p:cNvPr>
            <p:cNvSpPr/>
            <p:nvPr/>
          </p:nvSpPr>
          <p:spPr>
            <a:xfrm>
              <a:off x="3133988" y="4626608"/>
              <a:ext cx="539358" cy="450952"/>
            </a:xfrm>
            <a:custGeom>
              <a:avLst/>
              <a:gdLst/>
              <a:ahLst/>
              <a:cxnLst>
                <a:cxn ang="0">
                  <a:pos x="wd2" y="hd2"/>
                </a:cxn>
                <a:cxn ang="5400000">
                  <a:pos x="wd2" y="hd2"/>
                </a:cxn>
                <a:cxn ang="10800000">
                  <a:pos x="wd2" y="hd2"/>
                </a:cxn>
                <a:cxn ang="16200000">
                  <a:pos x="wd2" y="hd2"/>
                </a:cxn>
              </a:cxnLst>
              <a:rect l="0" t="0" r="r" b="b"/>
              <a:pathLst>
                <a:path w="21600" h="21600" extrusionOk="0">
                  <a:moveTo>
                    <a:pt x="0" y="12056"/>
                  </a:moveTo>
                  <a:lnTo>
                    <a:pt x="21600" y="0"/>
                  </a:lnTo>
                  <a:lnTo>
                    <a:pt x="18208" y="21600"/>
                  </a:lnTo>
                  <a:lnTo>
                    <a:pt x="0" y="12056"/>
                  </a:lnTo>
                  <a:close/>
                </a:path>
              </a:pathLst>
            </a:custGeom>
            <a:solidFill>
              <a:schemeClr val="accent1">
                <a:lumMod val="50000"/>
              </a:schemeClr>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20" name="Shape 816">
              <a:extLst>
                <a:ext uri="{FF2B5EF4-FFF2-40B4-BE49-F238E27FC236}">
                  <a16:creationId xmlns:a16="http://schemas.microsoft.com/office/drawing/2014/main" id="{B4F4E30D-486F-FB48-BDF8-8DEC498E54D7}"/>
                </a:ext>
              </a:extLst>
            </p:cNvPr>
            <p:cNvSpPr/>
            <p:nvPr/>
          </p:nvSpPr>
          <p:spPr>
            <a:xfrm>
              <a:off x="2332517" y="3101735"/>
              <a:ext cx="791349" cy="85118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4661"/>
                  </a:lnTo>
                  <a:lnTo>
                    <a:pt x="9707" y="0"/>
                  </a:lnTo>
                  <a:lnTo>
                    <a:pt x="0" y="21600"/>
                  </a:lnTo>
                  <a:close/>
                </a:path>
              </a:pathLst>
            </a:custGeom>
            <a:solidFill>
              <a:srgbClr val="1A8CFF"/>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21" name="Shape 817">
              <a:extLst>
                <a:ext uri="{FF2B5EF4-FFF2-40B4-BE49-F238E27FC236}">
                  <a16:creationId xmlns:a16="http://schemas.microsoft.com/office/drawing/2014/main" id="{54C7196D-DCD9-E346-94D2-40D2528CF8A6}"/>
                </a:ext>
              </a:extLst>
            </p:cNvPr>
            <p:cNvSpPr/>
            <p:nvPr/>
          </p:nvSpPr>
          <p:spPr>
            <a:xfrm>
              <a:off x="2695367" y="3669615"/>
              <a:ext cx="439268" cy="1210377"/>
            </a:xfrm>
            <a:custGeom>
              <a:avLst/>
              <a:gdLst/>
              <a:ahLst/>
              <a:cxnLst>
                <a:cxn ang="0">
                  <a:pos x="wd2" y="hd2"/>
                </a:cxn>
                <a:cxn ang="5400000">
                  <a:pos x="wd2" y="hd2"/>
                </a:cxn>
                <a:cxn ang="10800000">
                  <a:pos x="wd2" y="hd2"/>
                </a:cxn>
                <a:cxn ang="16200000">
                  <a:pos x="wd2" y="hd2"/>
                </a:cxn>
              </a:cxnLst>
              <a:rect l="0" t="0" r="r" b="b"/>
              <a:pathLst>
                <a:path w="21600" h="21536" extrusionOk="0">
                  <a:moveTo>
                    <a:pt x="21052" y="0"/>
                  </a:moveTo>
                  <a:lnTo>
                    <a:pt x="0" y="16662"/>
                  </a:lnTo>
                  <a:cubicBezTo>
                    <a:pt x="1830" y="18103"/>
                    <a:pt x="4623" y="19327"/>
                    <a:pt x="8132" y="20179"/>
                  </a:cubicBezTo>
                  <a:cubicBezTo>
                    <a:pt x="12121" y="21149"/>
                    <a:pt x="16792" y="21600"/>
                    <a:pt x="21481" y="21472"/>
                  </a:cubicBezTo>
                  <a:cubicBezTo>
                    <a:pt x="21520" y="21493"/>
                    <a:pt x="21561" y="21514"/>
                    <a:pt x="21600" y="21536"/>
                  </a:cubicBezTo>
                  <a:lnTo>
                    <a:pt x="21052" y="0"/>
                  </a:lnTo>
                  <a:close/>
                </a:path>
              </a:pathLst>
            </a:custGeom>
            <a:solidFill>
              <a:schemeClr val="accent1"/>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22" name="Shape 818">
              <a:extLst>
                <a:ext uri="{FF2B5EF4-FFF2-40B4-BE49-F238E27FC236}">
                  <a16:creationId xmlns:a16="http://schemas.microsoft.com/office/drawing/2014/main" id="{200F791A-6741-EE4B-A819-AB5EA3C587BE}"/>
                </a:ext>
              </a:extLst>
            </p:cNvPr>
            <p:cNvSpPr/>
            <p:nvPr/>
          </p:nvSpPr>
          <p:spPr>
            <a:xfrm>
              <a:off x="3587465" y="4392360"/>
              <a:ext cx="724865" cy="69493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464" y="7252"/>
                  </a:lnTo>
                  <a:lnTo>
                    <a:pt x="111" y="20642"/>
                  </a:lnTo>
                  <a:cubicBezTo>
                    <a:pt x="5506" y="20781"/>
                    <a:pt x="10749" y="18609"/>
                    <a:pt x="14767" y="14560"/>
                  </a:cubicBezTo>
                  <a:cubicBezTo>
                    <a:pt x="18523" y="10774"/>
                    <a:pt x="20934" y="5606"/>
                    <a:pt x="21600" y="0"/>
                  </a:cubicBezTo>
                  <a:close/>
                  <a:moveTo>
                    <a:pt x="94" y="20748"/>
                  </a:moveTo>
                  <a:lnTo>
                    <a:pt x="0" y="21277"/>
                  </a:lnTo>
                  <a:cubicBezTo>
                    <a:pt x="189" y="21393"/>
                    <a:pt x="384" y="21493"/>
                    <a:pt x="576" y="21600"/>
                  </a:cubicBezTo>
                  <a:cubicBezTo>
                    <a:pt x="412" y="21319"/>
                    <a:pt x="247" y="21037"/>
                    <a:pt x="94" y="20748"/>
                  </a:cubicBezTo>
                  <a:close/>
                </a:path>
              </a:pathLst>
            </a:custGeom>
            <a:solidFill>
              <a:schemeClr val="tx2">
                <a:lumMod val="50000"/>
              </a:schemeClr>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23" name="Shape 819">
              <a:extLst>
                <a:ext uri="{FF2B5EF4-FFF2-40B4-BE49-F238E27FC236}">
                  <a16:creationId xmlns:a16="http://schemas.microsoft.com/office/drawing/2014/main" id="{B47F2028-5171-914A-B9AA-A5A446D8F571}"/>
                </a:ext>
              </a:extLst>
            </p:cNvPr>
            <p:cNvSpPr/>
            <p:nvPr/>
          </p:nvSpPr>
          <p:spPr>
            <a:xfrm>
              <a:off x="4063710" y="3256818"/>
              <a:ext cx="592375" cy="1132140"/>
            </a:xfrm>
            <a:custGeom>
              <a:avLst/>
              <a:gdLst/>
              <a:ahLst/>
              <a:cxnLst>
                <a:cxn ang="0">
                  <a:pos x="wd2" y="hd2"/>
                </a:cxn>
                <a:cxn ang="5400000">
                  <a:pos x="wd2" y="hd2"/>
                </a:cxn>
                <a:cxn ang="10800000">
                  <a:pos x="wd2" y="hd2"/>
                </a:cxn>
                <a:cxn ang="16200000">
                  <a:pos x="wd2" y="hd2"/>
                </a:cxn>
              </a:cxnLst>
              <a:rect l="0" t="0" r="r" b="b"/>
              <a:pathLst>
                <a:path w="21151" h="21600" extrusionOk="0">
                  <a:moveTo>
                    <a:pt x="10496" y="0"/>
                  </a:moveTo>
                  <a:cubicBezTo>
                    <a:pt x="10329" y="19"/>
                    <a:pt x="10166" y="28"/>
                    <a:pt x="9999" y="50"/>
                  </a:cubicBezTo>
                  <a:lnTo>
                    <a:pt x="0" y="10086"/>
                  </a:lnTo>
                  <a:lnTo>
                    <a:pt x="8897" y="21600"/>
                  </a:lnTo>
                  <a:cubicBezTo>
                    <a:pt x="8916" y="21516"/>
                    <a:pt x="8947" y="21433"/>
                    <a:pt x="8964" y="21348"/>
                  </a:cubicBezTo>
                  <a:cubicBezTo>
                    <a:pt x="16783" y="19275"/>
                    <a:pt x="21600" y="14662"/>
                    <a:pt x="21118" y="9716"/>
                  </a:cubicBezTo>
                  <a:cubicBezTo>
                    <a:pt x="20721" y="5632"/>
                    <a:pt x="16690" y="1975"/>
                    <a:pt x="10496" y="0"/>
                  </a:cubicBezTo>
                  <a:close/>
                </a:path>
              </a:pathLst>
            </a:custGeom>
            <a:solidFill>
              <a:schemeClr val="accent1">
                <a:lumMod val="50000"/>
              </a:schemeClr>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24" name="Shape 820">
              <a:extLst>
                <a:ext uri="{FF2B5EF4-FFF2-40B4-BE49-F238E27FC236}">
                  <a16:creationId xmlns:a16="http://schemas.microsoft.com/office/drawing/2014/main" id="{8457A89A-AD3F-924C-B7D6-DC798944B0C8}"/>
                </a:ext>
              </a:extLst>
            </p:cNvPr>
            <p:cNvSpPr/>
            <p:nvPr/>
          </p:nvSpPr>
          <p:spPr>
            <a:xfrm>
              <a:off x="2993972" y="2355179"/>
              <a:ext cx="774849" cy="903441"/>
            </a:xfrm>
            <a:custGeom>
              <a:avLst/>
              <a:gdLst/>
              <a:ahLst/>
              <a:cxnLst>
                <a:cxn ang="0">
                  <a:pos x="wd2" y="hd2"/>
                </a:cxn>
                <a:cxn ang="5400000">
                  <a:pos x="wd2" y="hd2"/>
                </a:cxn>
                <a:cxn ang="10800000">
                  <a:pos x="wd2" y="hd2"/>
                </a:cxn>
                <a:cxn ang="16200000">
                  <a:pos x="wd2" y="hd2"/>
                </a:cxn>
              </a:cxnLst>
              <a:rect l="0" t="0" r="r" b="b"/>
              <a:pathLst>
                <a:path w="21600" h="21583" extrusionOk="0">
                  <a:moveTo>
                    <a:pt x="8024" y="5"/>
                  </a:moveTo>
                  <a:cubicBezTo>
                    <a:pt x="5222" y="69"/>
                    <a:pt x="2464" y="773"/>
                    <a:pt x="5" y="2070"/>
                  </a:cubicBezTo>
                  <a:cubicBezTo>
                    <a:pt x="3" y="2068"/>
                    <a:pt x="2" y="2066"/>
                    <a:pt x="0" y="2065"/>
                  </a:cubicBezTo>
                  <a:lnTo>
                    <a:pt x="8562" y="21583"/>
                  </a:lnTo>
                  <a:lnTo>
                    <a:pt x="21600" y="5712"/>
                  </a:lnTo>
                  <a:cubicBezTo>
                    <a:pt x="18884" y="2687"/>
                    <a:pt x="15048" y="703"/>
                    <a:pt x="10831" y="153"/>
                  </a:cubicBezTo>
                  <a:cubicBezTo>
                    <a:pt x="9897" y="31"/>
                    <a:pt x="8957" y="-17"/>
                    <a:pt x="8024" y="5"/>
                  </a:cubicBezTo>
                  <a:close/>
                </a:path>
              </a:pathLst>
            </a:custGeom>
            <a:solidFill>
              <a:schemeClr val="accent2"/>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25" name="Shape 821">
              <a:extLst>
                <a:ext uri="{FF2B5EF4-FFF2-40B4-BE49-F238E27FC236}">
                  <a16:creationId xmlns:a16="http://schemas.microsoft.com/office/drawing/2014/main" id="{C150627D-6DAE-6C49-90B8-AE9FBFB61B32}"/>
                </a:ext>
              </a:extLst>
            </p:cNvPr>
            <p:cNvSpPr/>
            <p:nvPr/>
          </p:nvSpPr>
          <p:spPr>
            <a:xfrm>
              <a:off x="3296480" y="2592702"/>
              <a:ext cx="1046883" cy="667519"/>
            </a:xfrm>
            <a:custGeom>
              <a:avLst/>
              <a:gdLst/>
              <a:ahLst/>
              <a:cxnLst>
                <a:cxn ang="0">
                  <a:pos x="wd2" y="hd2"/>
                </a:cxn>
                <a:cxn ang="5400000">
                  <a:pos x="wd2" y="hd2"/>
                </a:cxn>
                <a:cxn ang="10800000">
                  <a:pos x="wd2" y="hd2"/>
                </a:cxn>
                <a:cxn ang="16200000">
                  <a:pos x="wd2" y="hd2"/>
                </a:cxn>
              </a:cxnLst>
              <a:rect l="0" t="0" r="r" b="b"/>
              <a:pathLst>
                <a:path w="21600" h="21600" extrusionOk="0">
                  <a:moveTo>
                    <a:pt x="9719" y="0"/>
                  </a:moveTo>
                  <a:lnTo>
                    <a:pt x="0" y="21529"/>
                  </a:lnTo>
                  <a:lnTo>
                    <a:pt x="21577" y="21600"/>
                  </a:lnTo>
                  <a:lnTo>
                    <a:pt x="21600" y="21542"/>
                  </a:lnTo>
                  <a:cubicBezTo>
                    <a:pt x="21331" y="16110"/>
                    <a:pt x="19966" y="11003"/>
                    <a:pt x="17724" y="7077"/>
                  </a:cubicBezTo>
                  <a:cubicBezTo>
                    <a:pt x="15600" y="3357"/>
                    <a:pt x="12808" y="911"/>
                    <a:pt x="9784" y="123"/>
                  </a:cubicBezTo>
                  <a:cubicBezTo>
                    <a:pt x="9763" y="80"/>
                    <a:pt x="9740" y="42"/>
                    <a:pt x="9719" y="0"/>
                  </a:cubicBezTo>
                  <a:close/>
                </a:path>
              </a:pathLst>
            </a:custGeom>
            <a:solidFill>
              <a:srgbClr val="1A8CFF"/>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26" name="Shape 822">
              <a:extLst>
                <a:ext uri="{FF2B5EF4-FFF2-40B4-BE49-F238E27FC236}">
                  <a16:creationId xmlns:a16="http://schemas.microsoft.com/office/drawing/2014/main" id="{950F3F7A-17B3-9B4C-B372-563CF053D6A8}"/>
                </a:ext>
              </a:extLst>
            </p:cNvPr>
            <p:cNvSpPr/>
            <p:nvPr/>
          </p:nvSpPr>
          <p:spPr>
            <a:xfrm>
              <a:off x="2330241" y="2343368"/>
              <a:ext cx="665776" cy="761579"/>
            </a:xfrm>
            <a:custGeom>
              <a:avLst/>
              <a:gdLst/>
              <a:ahLst/>
              <a:cxnLst>
                <a:cxn ang="0">
                  <a:pos x="wd2" y="hd2"/>
                </a:cxn>
                <a:cxn ang="5400000">
                  <a:pos x="wd2" y="hd2"/>
                </a:cxn>
                <a:cxn ang="10800000">
                  <a:pos x="wd2" y="hd2"/>
                </a:cxn>
                <a:cxn ang="16200000">
                  <a:pos x="wd2" y="hd2"/>
                </a:cxn>
              </a:cxnLst>
              <a:rect l="0" t="0" r="r" b="b"/>
              <a:pathLst>
                <a:path w="21600" h="21597" extrusionOk="0">
                  <a:moveTo>
                    <a:pt x="11768" y="0"/>
                  </a:moveTo>
                  <a:cubicBezTo>
                    <a:pt x="11272" y="-3"/>
                    <a:pt x="10775" y="10"/>
                    <a:pt x="10279" y="45"/>
                  </a:cubicBezTo>
                  <a:cubicBezTo>
                    <a:pt x="6489" y="318"/>
                    <a:pt x="2891" y="1718"/>
                    <a:pt x="0" y="4040"/>
                  </a:cubicBezTo>
                  <a:lnTo>
                    <a:pt x="11532" y="21597"/>
                  </a:lnTo>
                  <a:lnTo>
                    <a:pt x="21600" y="2763"/>
                  </a:lnTo>
                  <a:cubicBezTo>
                    <a:pt x="21580" y="2774"/>
                    <a:pt x="21559" y="2781"/>
                    <a:pt x="21540" y="2792"/>
                  </a:cubicBezTo>
                  <a:cubicBezTo>
                    <a:pt x="18629" y="985"/>
                    <a:pt x="15233" y="21"/>
                    <a:pt x="11768" y="0"/>
                  </a:cubicBezTo>
                  <a:close/>
                </a:path>
              </a:pathLst>
            </a:custGeom>
            <a:solidFill>
              <a:schemeClr val="accent2"/>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27" name="Shape 823">
              <a:extLst>
                <a:ext uri="{FF2B5EF4-FFF2-40B4-BE49-F238E27FC236}">
                  <a16:creationId xmlns:a16="http://schemas.microsoft.com/office/drawing/2014/main" id="{0DC7F156-CA1D-174C-A4C5-7CCA38172F93}"/>
                </a:ext>
              </a:extLst>
            </p:cNvPr>
            <p:cNvSpPr/>
            <p:nvPr/>
          </p:nvSpPr>
          <p:spPr>
            <a:xfrm>
              <a:off x="1795094" y="2484622"/>
              <a:ext cx="890613" cy="620325"/>
            </a:xfrm>
            <a:custGeom>
              <a:avLst/>
              <a:gdLst/>
              <a:ahLst/>
              <a:cxnLst>
                <a:cxn ang="0">
                  <a:pos x="wd2" y="hd2"/>
                </a:cxn>
                <a:cxn ang="5400000">
                  <a:pos x="wd2" y="hd2"/>
                </a:cxn>
                <a:cxn ang="10800000">
                  <a:pos x="wd2" y="hd2"/>
                </a:cxn>
                <a:cxn ang="16200000">
                  <a:pos x="wd2" y="hd2"/>
                </a:cxn>
              </a:cxnLst>
              <a:rect l="0" t="0" r="r" b="b"/>
              <a:pathLst>
                <a:path w="21600" h="21415" extrusionOk="0">
                  <a:moveTo>
                    <a:pt x="12988" y="29"/>
                  </a:moveTo>
                  <a:cubicBezTo>
                    <a:pt x="12985" y="33"/>
                    <a:pt x="12982" y="39"/>
                    <a:pt x="12979" y="43"/>
                  </a:cubicBezTo>
                  <a:cubicBezTo>
                    <a:pt x="10473" y="-185"/>
                    <a:pt x="7966" y="507"/>
                    <a:pt x="5669" y="2060"/>
                  </a:cubicBezTo>
                  <a:cubicBezTo>
                    <a:pt x="3538" y="3501"/>
                    <a:pt x="1639" y="5648"/>
                    <a:pt x="113" y="8346"/>
                  </a:cubicBezTo>
                  <a:cubicBezTo>
                    <a:pt x="75" y="8353"/>
                    <a:pt x="38" y="8366"/>
                    <a:pt x="0" y="8373"/>
                  </a:cubicBezTo>
                  <a:lnTo>
                    <a:pt x="21600" y="21415"/>
                  </a:lnTo>
                  <a:lnTo>
                    <a:pt x="12988" y="29"/>
                  </a:lnTo>
                  <a:close/>
                </a:path>
              </a:pathLst>
            </a:custGeom>
            <a:solidFill>
              <a:srgbClr val="B3D9FF"/>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28" name="Shape 824">
              <a:extLst>
                <a:ext uri="{FF2B5EF4-FFF2-40B4-BE49-F238E27FC236}">
                  <a16:creationId xmlns:a16="http://schemas.microsoft.com/office/drawing/2014/main" id="{58EF90EE-B111-D34A-8300-A89D8A728292}"/>
                </a:ext>
              </a:extLst>
            </p:cNvPr>
            <p:cNvSpPr/>
            <p:nvPr/>
          </p:nvSpPr>
          <p:spPr>
            <a:xfrm>
              <a:off x="1150872" y="2725366"/>
              <a:ext cx="649796" cy="97346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590" y="8"/>
                    <a:pt x="21579" y="14"/>
                    <a:pt x="21569" y="22"/>
                  </a:cubicBezTo>
                  <a:cubicBezTo>
                    <a:pt x="9364" y="1118"/>
                    <a:pt x="237" y="8497"/>
                    <a:pt x="0" y="17258"/>
                  </a:cubicBezTo>
                  <a:lnTo>
                    <a:pt x="15343" y="21600"/>
                  </a:lnTo>
                  <a:lnTo>
                    <a:pt x="21600" y="0"/>
                  </a:lnTo>
                  <a:close/>
                </a:path>
              </a:pathLst>
            </a:custGeom>
            <a:solidFill>
              <a:srgbClr val="B3D9FF"/>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29" name="Shape 825">
              <a:extLst>
                <a:ext uri="{FF2B5EF4-FFF2-40B4-BE49-F238E27FC236}">
                  <a16:creationId xmlns:a16="http://schemas.microsoft.com/office/drawing/2014/main" id="{80AAD5E0-B576-7F4E-9478-63E2E4E15A43}"/>
                </a:ext>
              </a:extLst>
            </p:cNvPr>
            <p:cNvSpPr/>
            <p:nvPr/>
          </p:nvSpPr>
          <p:spPr>
            <a:xfrm>
              <a:off x="1953779" y="3951349"/>
              <a:ext cx="725422" cy="681597"/>
            </a:xfrm>
            <a:custGeom>
              <a:avLst/>
              <a:gdLst/>
              <a:ahLst/>
              <a:cxnLst>
                <a:cxn ang="0">
                  <a:pos x="wd2" y="hd2"/>
                </a:cxn>
                <a:cxn ang="5400000">
                  <a:pos x="wd2" y="hd2"/>
                </a:cxn>
                <a:cxn ang="10800000">
                  <a:pos x="wd2" y="hd2"/>
                </a:cxn>
                <a:cxn ang="16200000">
                  <a:pos x="wd2" y="hd2"/>
                </a:cxn>
              </a:cxnLst>
              <a:rect l="0" t="0" r="r" b="b"/>
              <a:pathLst>
                <a:path w="21600" h="21203" extrusionOk="0">
                  <a:moveTo>
                    <a:pt x="11320" y="0"/>
                  </a:moveTo>
                  <a:lnTo>
                    <a:pt x="0" y="11590"/>
                  </a:lnTo>
                  <a:cubicBezTo>
                    <a:pt x="2218" y="15474"/>
                    <a:pt x="5508" y="18439"/>
                    <a:pt x="9378" y="19993"/>
                  </a:cubicBezTo>
                  <a:cubicBezTo>
                    <a:pt x="13329" y="21580"/>
                    <a:pt x="17633" y="21600"/>
                    <a:pt x="21600" y="20086"/>
                  </a:cubicBezTo>
                  <a:lnTo>
                    <a:pt x="11320" y="0"/>
                  </a:lnTo>
                  <a:close/>
                </a:path>
              </a:pathLst>
            </a:custGeom>
            <a:solidFill>
              <a:schemeClr val="accent1">
                <a:lumMod val="75000"/>
              </a:schemeClr>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30" name="Shape 826">
              <a:extLst>
                <a:ext uri="{FF2B5EF4-FFF2-40B4-BE49-F238E27FC236}">
                  <a16:creationId xmlns:a16="http://schemas.microsoft.com/office/drawing/2014/main" id="{36876DD8-B75D-A843-AC78-4585AB19C6A8}"/>
                </a:ext>
              </a:extLst>
            </p:cNvPr>
            <p:cNvSpPr/>
            <p:nvPr/>
          </p:nvSpPr>
          <p:spPr>
            <a:xfrm>
              <a:off x="1055897" y="3504622"/>
              <a:ext cx="560173" cy="762005"/>
            </a:xfrm>
            <a:custGeom>
              <a:avLst/>
              <a:gdLst/>
              <a:ahLst/>
              <a:cxnLst>
                <a:cxn ang="0">
                  <a:pos x="wd2" y="hd2"/>
                </a:cxn>
                <a:cxn ang="5400000">
                  <a:pos x="wd2" y="hd2"/>
                </a:cxn>
                <a:cxn ang="10800000">
                  <a:pos x="wd2" y="hd2"/>
                </a:cxn>
                <a:cxn ang="16200000">
                  <a:pos x="wd2" y="hd2"/>
                </a:cxn>
              </a:cxnLst>
              <a:rect l="0" t="0" r="r" b="b"/>
              <a:pathLst>
                <a:path w="20400" h="21600" extrusionOk="0">
                  <a:moveTo>
                    <a:pt x="3585" y="0"/>
                  </a:moveTo>
                  <a:lnTo>
                    <a:pt x="20400" y="5517"/>
                  </a:lnTo>
                  <a:lnTo>
                    <a:pt x="13510" y="21600"/>
                  </a:lnTo>
                  <a:cubicBezTo>
                    <a:pt x="9548" y="21176"/>
                    <a:pt x="5942" y="19468"/>
                    <a:pt x="3465" y="16842"/>
                  </a:cubicBezTo>
                  <a:cubicBezTo>
                    <a:pt x="-1200" y="11896"/>
                    <a:pt x="-1150" y="4900"/>
                    <a:pt x="3585" y="0"/>
                  </a:cubicBezTo>
                  <a:close/>
                </a:path>
              </a:pathLst>
            </a:custGeom>
            <a:solidFill>
              <a:schemeClr val="accent2"/>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31" name="Shape 827">
              <a:extLst>
                <a:ext uri="{FF2B5EF4-FFF2-40B4-BE49-F238E27FC236}">
                  <a16:creationId xmlns:a16="http://schemas.microsoft.com/office/drawing/2014/main" id="{B1F33AD3-B4D8-6B4B-AE99-6AF2235F106C}"/>
                </a:ext>
              </a:extLst>
            </p:cNvPr>
            <p:cNvSpPr/>
            <p:nvPr/>
          </p:nvSpPr>
          <p:spPr>
            <a:xfrm>
              <a:off x="3136336" y="4877928"/>
              <a:ext cx="767162" cy="55965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2743" y="7679"/>
                  </a:lnTo>
                  <a:cubicBezTo>
                    <a:pt x="13941" y="9961"/>
                    <a:pt x="15320" y="12023"/>
                    <a:pt x="16851" y="13819"/>
                  </a:cubicBezTo>
                  <a:cubicBezTo>
                    <a:pt x="18315" y="15538"/>
                    <a:pt x="19909" y="17002"/>
                    <a:pt x="21600" y="18183"/>
                  </a:cubicBezTo>
                  <a:lnTo>
                    <a:pt x="17430" y="21600"/>
                  </a:lnTo>
                  <a:cubicBezTo>
                    <a:pt x="13999" y="19071"/>
                    <a:pt x="10783" y="15954"/>
                    <a:pt x="7846" y="12314"/>
                  </a:cubicBezTo>
                  <a:cubicBezTo>
                    <a:pt x="4913" y="8677"/>
                    <a:pt x="2279" y="4545"/>
                    <a:pt x="0" y="0"/>
                  </a:cubicBezTo>
                  <a:close/>
                </a:path>
              </a:pathLst>
            </a:custGeom>
            <a:solidFill>
              <a:schemeClr val="tx2">
                <a:lumMod val="50000"/>
              </a:schemeClr>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132" name="Shape 828">
              <a:extLst>
                <a:ext uri="{FF2B5EF4-FFF2-40B4-BE49-F238E27FC236}">
                  <a16:creationId xmlns:a16="http://schemas.microsoft.com/office/drawing/2014/main" id="{E4D12AB8-7E21-3245-8D5B-2B17FC62A307}"/>
                </a:ext>
              </a:extLst>
            </p:cNvPr>
            <p:cNvSpPr/>
            <p:nvPr/>
          </p:nvSpPr>
          <p:spPr>
            <a:xfrm>
              <a:off x="1415036" y="3704408"/>
              <a:ext cx="531242" cy="754489"/>
            </a:xfrm>
            <a:custGeom>
              <a:avLst/>
              <a:gdLst/>
              <a:ahLst/>
              <a:cxnLst>
                <a:cxn ang="0">
                  <a:pos x="wd2" y="hd2"/>
                </a:cxn>
                <a:cxn ang="5400000">
                  <a:pos x="wd2" y="hd2"/>
                </a:cxn>
                <a:cxn ang="10800000">
                  <a:pos x="wd2" y="hd2"/>
                </a:cxn>
                <a:cxn ang="16200000">
                  <a:pos x="wd2" y="hd2"/>
                </a:cxn>
              </a:cxnLst>
              <a:rect l="0" t="0" r="r" b="b"/>
              <a:pathLst>
                <a:path w="21600" h="21405" extrusionOk="0">
                  <a:moveTo>
                    <a:pt x="0" y="15921"/>
                  </a:moveTo>
                  <a:lnTo>
                    <a:pt x="7669" y="0"/>
                  </a:lnTo>
                  <a:lnTo>
                    <a:pt x="21600" y="17825"/>
                  </a:lnTo>
                  <a:cubicBezTo>
                    <a:pt x="18969" y="20272"/>
                    <a:pt x="14913" y="21600"/>
                    <a:pt x="10736" y="21381"/>
                  </a:cubicBezTo>
                  <a:cubicBezTo>
                    <a:pt x="6113" y="21140"/>
                    <a:pt x="2016" y="19056"/>
                    <a:pt x="0" y="15921"/>
                  </a:cubicBezTo>
                  <a:close/>
                </a:path>
              </a:pathLst>
            </a:custGeom>
            <a:solidFill>
              <a:schemeClr val="tx2"/>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grpSp>
      <p:grpSp>
        <p:nvGrpSpPr>
          <p:cNvPr id="133" name="Group 334">
            <a:extLst>
              <a:ext uri="{FF2B5EF4-FFF2-40B4-BE49-F238E27FC236}">
                <a16:creationId xmlns:a16="http://schemas.microsoft.com/office/drawing/2014/main" id="{2B30CD19-DADB-6F42-BEB1-B87E9619B891}"/>
              </a:ext>
            </a:extLst>
          </p:cNvPr>
          <p:cNvGrpSpPr/>
          <p:nvPr/>
        </p:nvGrpSpPr>
        <p:grpSpPr>
          <a:xfrm flipH="1">
            <a:off x="17868" y="2442075"/>
            <a:ext cx="3819427" cy="3981899"/>
            <a:chOff x="4461230" y="1373790"/>
            <a:chExt cx="3796825" cy="3809454"/>
          </a:xfrm>
        </p:grpSpPr>
        <p:sp>
          <p:nvSpPr>
            <p:cNvPr id="134" name="Freeform 336">
              <a:extLst>
                <a:ext uri="{FF2B5EF4-FFF2-40B4-BE49-F238E27FC236}">
                  <a16:creationId xmlns:a16="http://schemas.microsoft.com/office/drawing/2014/main" id="{E593BFC1-C818-1840-8210-726EBEB6F90E}"/>
                </a:ext>
              </a:extLst>
            </p:cNvPr>
            <p:cNvSpPr>
              <a:spLocks/>
            </p:cNvSpPr>
            <p:nvPr/>
          </p:nvSpPr>
          <p:spPr bwMode="auto">
            <a:xfrm>
              <a:off x="6896145" y="3801412"/>
              <a:ext cx="1361910" cy="1381832"/>
            </a:xfrm>
            <a:custGeom>
              <a:avLst/>
              <a:gdLst>
                <a:gd name="connsiteX0" fmla="*/ 246478 w 1376883"/>
                <a:gd name="connsiteY0" fmla="*/ 0 h 1342086"/>
                <a:gd name="connsiteX1" fmla="*/ 1376883 w 1376883"/>
                <a:gd name="connsiteY1" fmla="*/ 1342086 h 1342086"/>
                <a:gd name="connsiteX2" fmla="*/ 964218 w 1376883"/>
                <a:gd name="connsiteY2" fmla="*/ 1342086 h 1342086"/>
                <a:gd name="connsiteX3" fmla="*/ 0 w 1376883"/>
                <a:gd name="connsiteY3" fmla="*/ 201522 h 1342086"/>
                <a:gd name="connsiteX0" fmla="*/ 246478 w 1376883"/>
                <a:gd name="connsiteY0" fmla="*/ 0 h 1342086"/>
                <a:gd name="connsiteX1" fmla="*/ 1376883 w 1376883"/>
                <a:gd name="connsiteY1" fmla="*/ 1342086 h 1342086"/>
                <a:gd name="connsiteX2" fmla="*/ 1061499 w 1376883"/>
                <a:gd name="connsiteY2" fmla="*/ 1341257 h 1342086"/>
                <a:gd name="connsiteX3" fmla="*/ 964218 w 1376883"/>
                <a:gd name="connsiteY3" fmla="*/ 1342086 h 1342086"/>
                <a:gd name="connsiteX4" fmla="*/ 0 w 1376883"/>
                <a:gd name="connsiteY4" fmla="*/ 201522 h 1342086"/>
                <a:gd name="connsiteX5" fmla="*/ 246478 w 1376883"/>
                <a:gd name="connsiteY5" fmla="*/ 0 h 1342086"/>
                <a:gd name="connsiteX0" fmla="*/ 246478 w 1376883"/>
                <a:gd name="connsiteY0" fmla="*/ 0 h 1342086"/>
                <a:gd name="connsiteX1" fmla="*/ 1376883 w 1376883"/>
                <a:gd name="connsiteY1" fmla="*/ 1342086 h 1342086"/>
                <a:gd name="connsiteX2" fmla="*/ 1061499 w 1376883"/>
                <a:gd name="connsiteY2" fmla="*/ 1341257 h 1342086"/>
                <a:gd name="connsiteX3" fmla="*/ 929553 w 1376883"/>
                <a:gd name="connsiteY3" fmla="*/ 1328806 h 1342086"/>
                <a:gd name="connsiteX4" fmla="*/ 0 w 1376883"/>
                <a:gd name="connsiteY4" fmla="*/ 201522 h 1342086"/>
                <a:gd name="connsiteX5" fmla="*/ 246478 w 1376883"/>
                <a:gd name="connsiteY5" fmla="*/ 0 h 1342086"/>
                <a:gd name="connsiteX0" fmla="*/ 246478 w 1366483"/>
                <a:gd name="connsiteY0" fmla="*/ 0 h 1341369"/>
                <a:gd name="connsiteX1" fmla="*/ 1366483 w 1366483"/>
                <a:gd name="connsiteY1" fmla="*/ 1332126 h 1341369"/>
                <a:gd name="connsiteX2" fmla="*/ 1061499 w 1366483"/>
                <a:gd name="connsiteY2" fmla="*/ 1341257 h 1341369"/>
                <a:gd name="connsiteX3" fmla="*/ 929553 w 1366483"/>
                <a:gd name="connsiteY3" fmla="*/ 1328806 h 1341369"/>
                <a:gd name="connsiteX4" fmla="*/ 0 w 1366483"/>
                <a:gd name="connsiteY4" fmla="*/ 201522 h 1341369"/>
                <a:gd name="connsiteX5" fmla="*/ 246478 w 1366483"/>
                <a:gd name="connsiteY5" fmla="*/ 0 h 1341369"/>
                <a:gd name="connsiteX0" fmla="*/ 246478 w 1366483"/>
                <a:gd name="connsiteY0" fmla="*/ 0 h 1332126"/>
                <a:gd name="connsiteX1" fmla="*/ 1366483 w 1366483"/>
                <a:gd name="connsiteY1" fmla="*/ 1332126 h 1332126"/>
                <a:gd name="connsiteX2" fmla="*/ 1061499 w 1366483"/>
                <a:gd name="connsiteY2" fmla="*/ 1331298 h 1332126"/>
                <a:gd name="connsiteX3" fmla="*/ 929553 w 1366483"/>
                <a:gd name="connsiteY3" fmla="*/ 1328806 h 1332126"/>
                <a:gd name="connsiteX4" fmla="*/ 0 w 1366483"/>
                <a:gd name="connsiteY4" fmla="*/ 201522 h 1332126"/>
                <a:gd name="connsiteX5" fmla="*/ 246478 w 1366483"/>
                <a:gd name="connsiteY5" fmla="*/ 0 h 1332126"/>
                <a:gd name="connsiteX0" fmla="*/ 246478 w 1361909"/>
                <a:gd name="connsiteY0" fmla="*/ 0 h 1331421"/>
                <a:gd name="connsiteX1" fmla="*/ 1361909 w 1361909"/>
                <a:gd name="connsiteY1" fmla="*/ 1323365 h 1331421"/>
                <a:gd name="connsiteX2" fmla="*/ 1061499 w 1361909"/>
                <a:gd name="connsiteY2" fmla="*/ 1331298 h 1331421"/>
                <a:gd name="connsiteX3" fmla="*/ 929553 w 1361909"/>
                <a:gd name="connsiteY3" fmla="*/ 1328806 h 1331421"/>
                <a:gd name="connsiteX4" fmla="*/ 0 w 1361909"/>
                <a:gd name="connsiteY4" fmla="*/ 201522 h 1331421"/>
                <a:gd name="connsiteX5" fmla="*/ 246478 w 1361909"/>
                <a:gd name="connsiteY5" fmla="*/ 0 h 1331421"/>
                <a:gd name="connsiteX0" fmla="*/ 246478 w 1361909"/>
                <a:gd name="connsiteY0" fmla="*/ 0 h 1328806"/>
                <a:gd name="connsiteX1" fmla="*/ 1361909 w 1361909"/>
                <a:gd name="connsiteY1" fmla="*/ 1323365 h 1328806"/>
                <a:gd name="connsiteX2" fmla="*/ 1054639 w 1361909"/>
                <a:gd name="connsiteY2" fmla="*/ 1322537 h 1328806"/>
                <a:gd name="connsiteX3" fmla="*/ 929553 w 1361909"/>
                <a:gd name="connsiteY3" fmla="*/ 1328806 h 1328806"/>
                <a:gd name="connsiteX4" fmla="*/ 0 w 1361909"/>
                <a:gd name="connsiteY4" fmla="*/ 201522 h 1328806"/>
                <a:gd name="connsiteX5" fmla="*/ 246478 w 1361909"/>
                <a:gd name="connsiteY5" fmla="*/ 0 h 1328806"/>
                <a:gd name="connsiteX0" fmla="*/ 246478 w 1361909"/>
                <a:gd name="connsiteY0" fmla="*/ 0 h 1323365"/>
                <a:gd name="connsiteX1" fmla="*/ 1361909 w 1361909"/>
                <a:gd name="connsiteY1" fmla="*/ 1323365 h 1323365"/>
                <a:gd name="connsiteX2" fmla="*/ 1054639 w 1361909"/>
                <a:gd name="connsiteY2" fmla="*/ 1322537 h 1323365"/>
                <a:gd name="connsiteX3" fmla="*/ 920405 w 1361909"/>
                <a:gd name="connsiteY3" fmla="*/ 1320045 h 1323365"/>
                <a:gd name="connsiteX4" fmla="*/ 0 w 1361909"/>
                <a:gd name="connsiteY4" fmla="*/ 201522 h 1323365"/>
                <a:gd name="connsiteX5" fmla="*/ 246478 w 1361909"/>
                <a:gd name="connsiteY5" fmla="*/ 0 h 1323365"/>
                <a:gd name="connsiteX0" fmla="*/ 246478 w 1361909"/>
                <a:gd name="connsiteY0" fmla="*/ 0 h 1323365"/>
                <a:gd name="connsiteX1" fmla="*/ 1361909 w 1361909"/>
                <a:gd name="connsiteY1" fmla="*/ 1323365 h 1323365"/>
                <a:gd name="connsiteX2" fmla="*/ 1054639 w 1361909"/>
                <a:gd name="connsiteY2" fmla="*/ 1322537 h 1323365"/>
                <a:gd name="connsiteX3" fmla="*/ 920405 w 1361909"/>
                <a:gd name="connsiteY3" fmla="*/ 1322235 h 1323365"/>
                <a:gd name="connsiteX4" fmla="*/ 0 w 1361909"/>
                <a:gd name="connsiteY4" fmla="*/ 201522 h 1323365"/>
                <a:gd name="connsiteX5" fmla="*/ 246478 w 1361909"/>
                <a:gd name="connsiteY5" fmla="*/ 0 h 1323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1909" h="1323365">
                  <a:moveTo>
                    <a:pt x="246478" y="0"/>
                  </a:moveTo>
                  <a:lnTo>
                    <a:pt x="1361909" y="1323365"/>
                  </a:lnTo>
                  <a:cubicBezTo>
                    <a:pt x="1254470" y="1321982"/>
                    <a:pt x="1162078" y="1323920"/>
                    <a:pt x="1054639" y="1322537"/>
                  </a:cubicBezTo>
                  <a:lnTo>
                    <a:pt x="920405" y="1322235"/>
                  </a:lnTo>
                  <a:lnTo>
                    <a:pt x="0" y="201522"/>
                  </a:lnTo>
                  <a:lnTo>
                    <a:pt x="246478" y="0"/>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35" name="Freeform 470">
              <a:extLst>
                <a:ext uri="{FF2B5EF4-FFF2-40B4-BE49-F238E27FC236}">
                  <a16:creationId xmlns:a16="http://schemas.microsoft.com/office/drawing/2014/main" id="{6C9EDE18-8B5D-7A42-85AB-6B7A0ED54EE0}"/>
                </a:ext>
              </a:extLst>
            </p:cNvPr>
            <p:cNvSpPr>
              <a:spLocks/>
            </p:cNvSpPr>
            <p:nvPr/>
          </p:nvSpPr>
          <p:spPr bwMode="auto">
            <a:xfrm>
              <a:off x="6810884" y="3702203"/>
              <a:ext cx="466602" cy="430948"/>
            </a:xfrm>
            <a:custGeom>
              <a:avLst/>
              <a:gdLst>
                <a:gd name="T0" fmla="*/ 79 w 104"/>
                <a:gd name="T1" fmla="*/ 0 h 96"/>
                <a:gd name="T2" fmla="*/ 0 w 104"/>
                <a:gd name="T3" fmla="*/ 65 h 96"/>
                <a:gd name="T4" fmla="*/ 25 w 104"/>
                <a:gd name="T5" fmla="*/ 96 h 96"/>
                <a:gd name="T6" fmla="*/ 104 w 104"/>
                <a:gd name="T7" fmla="*/ 31 h 96"/>
                <a:gd name="T8" fmla="*/ 79 w 104"/>
                <a:gd name="T9" fmla="*/ 0 h 96"/>
              </a:gdLst>
              <a:ahLst/>
              <a:cxnLst>
                <a:cxn ang="0">
                  <a:pos x="T0" y="T1"/>
                </a:cxn>
                <a:cxn ang="0">
                  <a:pos x="T2" y="T3"/>
                </a:cxn>
                <a:cxn ang="0">
                  <a:pos x="T4" y="T5"/>
                </a:cxn>
                <a:cxn ang="0">
                  <a:pos x="T6" y="T7"/>
                </a:cxn>
                <a:cxn ang="0">
                  <a:pos x="T8" y="T9"/>
                </a:cxn>
              </a:cxnLst>
              <a:rect l="0" t="0" r="r" b="b"/>
              <a:pathLst>
                <a:path w="104" h="96">
                  <a:moveTo>
                    <a:pt x="79" y="0"/>
                  </a:moveTo>
                  <a:cubicBezTo>
                    <a:pt x="0" y="65"/>
                    <a:pt x="0" y="65"/>
                    <a:pt x="0" y="65"/>
                  </a:cubicBezTo>
                  <a:cubicBezTo>
                    <a:pt x="25" y="96"/>
                    <a:pt x="25" y="96"/>
                    <a:pt x="25" y="96"/>
                  </a:cubicBezTo>
                  <a:cubicBezTo>
                    <a:pt x="63" y="85"/>
                    <a:pt x="89" y="63"/>
                    <a:pt x="104" y="31"/>
                  </a:cubicBezTo>
                  <a:lnTo>
                    <a:pt x="79" y="0"/>
                  </a:lnTo>
                  <a:close/>
                </a:path>
              </a:pathLst>
            </a:custGeom>
            <a:solidFill>
              <a:schemeClr val="tx1">
                <a:lumMod val="95000"/>
                <a:lumOff val="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36" name="Freeform 471">
              <a:extLst>
                <a:ext uri="{FF2B5EF4-FFF2-40B4-BE49-F238E27FC236}">
                  <a16:creationId xmlns:a16="http://schemas.microsoft.com/office/drawing/2014/main" id="{D2CE9B96-4211-B04C-A720-C07ED982DA74}"/>
                </a:ext>
              </a:extLst>
            </p:cNvPr>
            <p:cNvSpPr>
              <a:spLocks noEditPoints="1"/>
            </p:cNvSpPr>
            <p:nvPr/>
          </p:nvSpPr>
          <p:spPr bwMode="auto">
            <a:xfrm>
              <a:off x="4461230" y="1373790"/>
              <a:ext cx="3260012" cy="2853867"/>
            </a:xfrm>
            <a:custGeom>
              <a:avLst/>
              <a:gdLst>
                <a:gd name="T0" fmla="*/ 363 w 726"/>
                <a:gd name="T1" fmla="*/ 636 h 636"/>
                <a:gd name="T2" fmla="*/ 516 w 726"/>
                <a:gd name="T3" fmla="*/ 597 h 636"/>
                <a:gd name="T4" fmla="*/ 642 w 726"/>
                <a:gd name="T5" fmla="*/ 166 h 636"/>
                <a:gd name="T6" fmla="*/ 363 w 726"/>
                <a:gd name="T7" fmla="*/ 0 h 636"/>
                <a:gd name="T8" fmla="*/ 363 w 726"/>
                <a:gd name="T9" fmla="*/ 18 h 636"/>
                <a:gd name="T10" fmla="*/ 627 w 726"/>
                <a:gd name="T11" fmla="*/ 174 h 636"/>
                <a:gd name="T12" fmla="*/ 507 w 726"/>
                <a:gd name="T13" fmla="*/ 582 h 636"/>
                <a:gd name="T14" fmla="*/ 363 w 726"/>
                <a:gd name="T15" fmla="*/ 618 h 636"/>
                <a:gd name="T16" fmla="*/ 363 w 726"/>
                <a:gd name="T17" fmla="*/ 636 h 636"/>
                <a:gd name="T18" fmla="*/ 211 w 726"/>
                <a:gd name="T19" fmla="*/ 39 h 636"/>
                <a:gd name="T20" fmla="*/ 84 w 726"/>
                <a:gd name="T21" fmla="*/ 471 h 636"/>
                <a:gd name="T22" fmla="*/ 363 w 726"/>
                <a:gd name="T23" fmla="*/ 636 h 636"/>
                <a:gd name="T24" fmla="*/ 363 w 726"/>
                <a:gd name="T25" fmla="*/ 618 h 636"/>
                <a:gd name="T26" fmla="*/ 100 w 726"/>
                <a:gd name="T27" fmla="*/ 462 h 636"/>
                <a:gd name="T28" fmla="*/ 219 w 726"/>
                <a:gd name="T29" fmla="*/ 55 h 636"/>
                <a:gd name="T30" fmla="*/ 363 w 726"/>
                <a:gd name="T31" fmla="*/ 18 h 636"/>
                <a:gd name="T32" fmla="*/ 363 w 726"/>
                <a:gd name="T33" fmla="*/ 0 h 636"/>
                <a:gd name="T34" fmla="*/ 211 w 726"/>
                <a:gd name="T35" fmla="*/ 3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6" h="636">
                  <a:moveTo>
                    <a:pt x="363" y="636"/>
                  </a:moveTo>
                  <a:cubicBezTo>
                    <a:pt x="415" y="636"/>
                    <a:pt x="467" y="623"/>
                    <a:pt x="516" y="597"/>
                  </a:cubicBezTo>
                  <a:cubicBezTo>
                    <a:pt x="670" y="513"/>
                    <a:pt x="726" y="320"/>
                    <a:pt x="642" y="166"/>
                  </a:cubicBezTo>
                  <a:cubicBezTo>
                    <a:pt x="584" y="60"/>
                    <a:pt x="476" y="0"/>
                    <a:pt x="363" y="0"/>
                  </a:cubicBezTo>
                  <a:cubicBezTo>
                    <a:pt x="363" y="18"/>
                    <a:pt x="363" y="18"/>
                    <a:pt x="363" y="18"/>
                  </a:cubicBezTo>
                  <a:cubicBezTo>
                    <a:pt x="469" y="18"/>
                    <a:pt x="572" y="74"/>
                    <a:pt x="627" y="174"/>
                  </a:cubicBezTo>
                  <a:cubicBezTo>
                    <a:pt x="706" y="320"/>
                    <a:pt x="653" y="502"/>
                    <a:pt x="507" y="582"/>
                  </a:cubicBezTo>
                  <a:cubicBezTo>
                    <a:pt x="462" y="607"/>
                    <a:pt x="412" y="619"/>
                    <a:pt x="363" y="618"/>
                  </a:cubicBezTo>
                  <a:lnTo>
                    <a:pt x="363" y="636"/>
                  </a:lnTo>
                  <a:close/>
                  <a:moveTo>
                    <a:pt x="211" y="39"/>
                  </a:moveTo>
                  <a:cubicBezTo>
                    <a:pt x="57" y="124"/>
                    <a:pt x="0" y="317"/>
                    <a:pt x="84" y="471"/>
                  </a:cubicBezTo>
                  <a:cubicBezTo>
                    <a:pt x="142" y="576"/>
                    <a:pt x="251" y="636"/>
                    <a:pt x="363" y="636"/>
                  </a:cubicBezTo>
                  <a:cubicBezTo>
                    <a:pt x="363" y="618"/>
                    <a:pt x="363" y="618"/>
                    <a:pt x="363" y="618"/>
                  </a:cubicBezTo>
                  <a:cubicBezTo>
                    <a:pt x="257" y="618"/>
                    <a:pt x="154" y="562"/>
                    <a:pt x="100" y="462"/>
                  </a:cubicBezTo>
                  <a:cubicBezTo>
                    <a:pt x="20" y="317"/>
                    <a:pt x="74" y="134"/>
                    <a:pt x="219" y="55"/>
                  </a:cubicBezTo>
                  <a:cubicBezTo>
                    <a:pt x="265" y="30"/>
                    <a:pt x="315" y="18"/>
                    <a:pt x="363" y="18"/>
                  </a:cubicBezTo>
                  <a:cubicBezTo>
                    <a:pt x="363" y="0"/>
                    <a:pt x="363" y="0"/>
                    <a:pt x="363" y="0"/>
                  </a:cubicBezTo>
                  <a:cubicBezTo>
                    <a:pt x="312" y="0"/>
                    <a:pt x="259" y="13"/>
                    <a:pt x="211" y="39"/>
                  </a:cubicBezTo>
                  <a:close/>
                </a:path>
              </a:pathLst>
            </a:custGeom>
            <a:solidFill>
              <a:srgbClr val="15303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166171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16">
            <a:extLst>
              <a:ext uri="{FF2B5EF4-FFF2-40B4-BE49-F238E27FC236}">
                <a16:creationId xmlns:a16="http://schemas.microsoft.com/office/drawing/2014/main" id="{6CA53345-C651-7F41-92E8-383793CFB3FF}"/>
              </a:ext>
            </a:extLst>
          </p:cNvPr>
          <p:cNvSpPr/>
          <p:nvPr/>
        </p:nvSpPr>
        <p:spPr bwMode="auto">
          <a:xfrm>
            <a:off x="4339524" y="614872"/>
            <a:ext cx="3484174" cy="5154910"/>
          </a:xfrm>
          <a:prstGeom prst="rect">
            <a:avLst/>
          </a:prstGeom>
          <a:solidFill>
            <a:srgbClr val="004080">
              <a:alpha val="52452"/>
            </a:srgbClr>
          </a:solidFill>
          <a:ln w="28575" cap="flat" cmpd="sng" algn="ctr">
            <a:solidFill>
              <a:srgbClr val="004080"/>
            </a:solidFill>
            <a:prstDash val="sysDash"/>
            <a:round/>
            <a:headEnd type="none" w="med" len="med"/>
            <a:tailEnd type="none" w="med" len="med"/>
          </a:ln>
          <a:effectLst/>
        </p:spPr>
        <p:txBody>
          <a:bodyPr vert="horz" wrap="none" lIns="104334" tIns="52483" rIns="102598" bIns="52483" numCol="1" rtlCol="0" anchor="ctr" anchorCtr="0" compatLnSpc="1">
            <a:prstTxWarp prst="textNoShape">
              <a:avLst/>
            </a:prstTxWarp>
          </a:bodyPr>
          <a:lstStyle/>
          <a:p>
            <a:pPr marL="0" marR="0" lvl="0" indent="0" algn="ctr" defTabSz="994766" eaLnBrk="1" fontAlgn="base" latinLnBrk="0" hangingPunct="1">
              <a:lnSpc>
                <a:spcPct val="100000"/>
              </a:lnSpc>
              <a:spcBef>
                <a:spcPct val="0"/>
              </a:spcBef>
              <a:spcAft>
                <a:spcPct val="0"/>
              </a:spcAft>
              <a:buClr>
                <a:srgbClr val="198CFF"/>
              </a:buClr>
              <a:buSzPct val="75000"/>
              <a:buFontTx/>
              <a:buNone/>
              <a:tabLst/>
              <a:defRPr/>
            </a:pPr>
            <a:endParaRPr kumimoji="0" lang="de-DE" sz="1799" b="0" i="0" u="none" strike="noStrike" kern="0" cap="none" spc="0" normalizeH="0" baseline="0" noProof="0" dirty="0">
              <a:ln>
                <a:noFill/>
              </a:ln>
              <a:solidFill>
                <a:srgbClr val="646464"/>
              </a:solidFill>
              <a:effectLst/>
              <a:uLnTx/>
              <a:uFillTx/>
              <a:latin typeface="Arial" charset="0"/>
            </a:endParaRPr>
          </a:p>
        </p:txBody>
      </p:sp>
      <p:sp>
        <p:nvSpPr>
          <p:cNvPr id="30" name="Arrow: Pentagon 9">
            <a:extLst>
              <a:ext uri="{FF2B5EF4-FFF2-40B4-BE49-F238E27FC236}">
                <a16:creationId xmlns:a16="http://schemas.microsoft.com/office/drawing/2014/main" id="{79C217D0-B805-5242-8E9D-8E2C9DA6BCC1}"/>
              </a:ext>
            </a:extLst>
          </p:cNvPr>
          <p:cNvSpPr/>
          <p:nvPr/>
        </p:nvSpPr>
        <p:spPr bwMode="auto">
          <a:xfrm rot="5400000">
            <a:off x="3595173" y="1535586"/>
            <a:ext cx="4972875" cy="3339983"/>
          </a:xfrm>
          <a:prstGeom prst="homePlate">
            <a:avLst>
              <a:gd name="adj" fmla="val 20711"/>
            </a:avLst>
          </a:prstGeom>
          <a:solidFill>
            <a:srgbClr val="FFFFFF"/>
          </a:solidFill>
          <a:ln w="19050" cap="flat" cmpd="sng" algn="ctr">
            <a:solidFill>
              <a:srgbClr val="004080"/>
            </a:solidFill>
            <a:prstDash val="solid"/>
            <a:round/>
            <a:headEnd type="none" w="med" len="med"/>
            <a:tailEnd type="none" w="med" len="med"/>
          </a:ln>
          <a:effectLst/>
        </p:spPr>
        <p:txBody>
          <a:bodyPr vert="vert270" wrap="none" lIns="104334" tIns="52483" rIns="102598" bIns="52483" numCol="1" rtlCol="0" anchor="ctr" anchorCtr="0" compatLnSpc="1">
            <a:prstTxWarp prst="textNoShape">
              <a:avLst/>
            </a:prstTxWarp>
            <a:scene3d>
              <a:camera prst="orthographicFront">
                <a:rot lat="0" lon="0" rev="0"/>
              </a:camera>
              <a:lightRig rig="threePt" dir="t"/>
            </a:scene3d>
          </a:bodyPr>
          <a:lstStyle/>
          <a:p>
            <a:pPr marL="0" marR="0" lvl="0" indent="0" defTabSz="994766" eaLnBrk="1" fontAlgn="base" latinLnBrk="0" hangingPunct="1">
              <a:lnSpc>
                <a:spcPct val="100000"/>
              </a:lnSpc>
              <a:spcBef>
                <a:spcPct val="0"/>
              </a:spcBef>
              <a:spcAft>
                <a:spcPts val="600"/>
              </a:spcAft>
              <a:buClr>
                <a:srgbClr val="404040">
                  <a:lumMod val="50000"/>
                </a:srgbClr>
              </a:buClr>
              <a:buSzPct val="75000"/>
              <a:buFontTx/>
              <a:buNone/>
              <a:tabLst/>
              <a:defRPr/>
            </a:pPr>
            <a:endParaRPr kumimoji="0" lang="de-DE" sz="1599"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1" name="Arrow: Pentagon 10">
            <a:extLst>
              <a:ext uri="{FF2B5EF4-FFF2-40B4-BE49-F238E27FC236}">
                <a16:creationId xmlns:a16="http://schemas.microsoft.com/office/drawing/2014/main" id="{CBBA86BE-8B6E-F749-8F35-0BFC81466952}"/>
              </a:ext>
            </a:extLst>
          </p:cNvPr>
          <p:cNvSpPr/>
          <p:nvPr/>
        </p:nvSpPr>
        <p:spPr bwMode="auto">
          <a:xfrm rot="5400000">
            <a:off x="7762884" y="1535586"/>
            <a:ext cx="4972873" cy="3339983"/>
          </a:xfrm>
          <a:prstGeom prst="homePlate">
            <a:avLst>
              <a:gd name="adj" fmla="val 20711"/>
            </a:avLst>
          </a:prstGeom>
          <a:solidFill>
            <a:srgbClr val="FFFFFF"/>
          </a:solidFill>
          <a:ln w="19050" cap="flat" cmpd="sng" algn="ctr">
            <a:solidFill>
              <a:srgbClr val="BFBFBF"/>
            </a:solidFill>
            <a:prstDash val="solid"/>
            <a:round/>
            <a:headEnd type="none" w="med" len="med"/>
            <a:tailEnd type="none" w="med" len="med"/>
          </a:ln>
          <a:effectLst/>
        </p:spPr>
        <p:txBody>
          <a:bodyPr vert="vert270" wrap="none" lIns="104334" tIns="52483" rIns="102598" bIns="52483" numCol="1" rtlCol="0" anchor="ctr" anchorCtr="0" compatLnSpc="1">
            <a:prstTxWarp prst="textNoShape">
              <a:avLst/>
            </a:prstTxWarp>
            <a:scene3d>
              <a:camera prst="orthographicFront">
                <a:rot lat="0" lon="0" rev="0"/>
              </a:camera>
              <a:lightRig rig="threePt" dir="t"/>
            </a:scene3d>
          </a:bodyPr>
          <a:lstStyle/>
          <a:p>
            <a:pPr marL="0" marR="0" lvl="0" indent="0" defTabSz="994766" eaLnBrk="1" fontAlgn="base" latinLnBrk="0" hangingPunct="1">
              <a:lnSpc>
                <a:spcPct val="100000"/>
              </a:lnSpc>
              <a:spcBef>
                <a:spcPct val="0"/>
              </a:spcBef>
              <a:spcAft>
                <a:spcPts val="600"/>
              </a:spcAft>
              <a:buClr>
                <a:srgbClr val="404040">
                  <a:lumMod val="50000"/>
                </a:srgbClr>
              </a:buClr>
              <a:buSzPct val="75000"/>
              <a:buFontTx/>
              <a:buNone/>
              <a:tabLst/>
              <a:defRPr/>
            </a:pPr>
            <a:endParaRPr kumimoji="0" lang="de-DE" sz="1599"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2" name="Arrow: Pentagon 8">
            <a:extLst>
              <a:ext uri="{FF2B5EF4-FFF2-40B4-BE49-F238E27FC236}">
                <a16:creationId xmlns:a16="http://schemas.microsoft.com/office/drawing/2014/main" id="{77EF4EEE-7B18-3142-A6E0-EC6DE62B9832}"/>
              </a:ext>
            </a:extLst>
          </p:cNvPr>
          <p:cNvSpPr/>
          <p:nvPr/>
        </p:nvSpPr>
        <p:spPr bwMode="auto">
          <a:xfrm rot="5400000">
            <a:off x="-572539" y="1535585"/>
            <a:ext cx="4972874" cy="3339983"/>
          </a:xfrm>
          <a:prstGeom prst="homePlate">
            <a:avLst>
              <a:gd name="adj" fmla="val 20711"/>
            </a:avLst>
          </a:prstGeom>
          <a:solidFill>
            <a:srgbClr val="FFFFFF"/>
          </a:solidFill>
          <a:ln w="19050" cap="flat" cmpd="sng" algn="ctr">
            <a:solidFill>
              <a:srgbClr val="BFBFBF"/>
            </a:solidFill>
            <a:prstDash val="solid"/>
            <a:round/>
            <a:headEnd type="none" w="med" len="med"/>
            <a:tailEnd type="none" w="med" len="med"/>
          </a:ln>
          <a:effectLst/>
        </p:spPr>
        <p:txBody>
          <a:bodyPr vert="vert270" wrap="none" lIns="104334" tIns="52483" rIns="102598" bIns="52483" numCol="1" rtlCol="0" anchor="ctr" anchorCtr="0" compatLnSpc="1">
            <a:prstTxWarp prst="textNoShape">
              <a:avLst/>
            </a:prstTxWarp>
            <a:scene3d>
              <a:camera prst="orthographicFront">
                <a:rot lat="0" lon="0" rev="0"/>
              </a:camera>
              <a:lightRig rig="threePt" dir="t"/>
            </a:scene3d>
          </a:bodyPr>
          <a:lstStyle/>
          <a:p>
            <a:pPr marL="0" marR="0" lvl="0" indent="0" defTabSz="994766" eaLnBrk="1" fontAlgn="base" latinLnBrk="0" hangingPunct="1">
              <a:lnSpc>
                <a:spcPct val="100000"/>
              </a:lnSpc>
              <a:spcBef>
                <a:spcPct val="0"/>
              </a:spcBef>
              <a:spcAft>
                <a:spcPts val="600"/>
              </a:spcAft>
              <a:buClr>
                <a:srgbClr val="404040">
                  <a:lumMod val="50000"/>
                </a:srgbClr>
              </a:buClr>
              <a:buSzPct val="75000"/>
              <a:buFontTx/>
              <a:buNone/>
              <a:tabLst/>
              <a:defRPr/>
            </a:pPr>
            <a:endParaRPr kumimoji="0" lang="de-DE" sz="1599"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4" name="Rectangle 13">
            <a:extLst>
              <a:ext uri="{FF2B5EF4-FFF2-40B4-BE49-F238E27FC236}">
                <a16:creationId xmlns:a16="http://schemas.microsoft.com/office/drawing/2014/main" id="{769A6126-B174-2340-99BA-028421707DA9}"/>
              </a:ext>
            </a:extLst>
          </p:cNvPr>
          <p:cNvSpPr/>
          <p:nvPr/>
        </p:nvSpPr>
        <p:spPr bwMode="auto">
          <a:xfrm>
            <a:off x="245285" y="719144"/>
            <a:ext cx="3338605" cy="987844"/>
          </a:xfrm>
          <a:prstGeom prst="rect">
            <a:avLst/>
          </a:prstGeom>
          <a:solidFill>
            <a:srgbClr val="A6A6A6"/>
          </a:solidFill>
          <a:ln w="28575" cap="flat" cmpd="sng" algn="ctr">
            <a:noFill/>
            <a:prstDash val="solid"/>
            <a:round/>
            <a:headEnd type="none" w="med" len="med"/>
            <a:tailEnd type="none" w="med" len="med"/>
          </a:ln>
          <a:effectLst/>
        </p:spPr>
        <p:txBody>
          <a:bodyPr vert="horz" wrap="none" lIns="104334" tIns="52483" rIns="102598" bIns="52483" numCol="1" rtlCol="0" anchor="ctr" anchorCtr="0" compatLnSpc="1">
            <a:prstTxWarp prst="textNoShape">
              <a:avLst/>
            </a:prstTxWarp>
          </a:bodyPr>
          <a:lstStyle/>
          <a:p>
            <a:pPr lvl="0" algn="ctr" defTabSz="994766" fontAlgn="base">
              <a:spcBef>
                <a:spcPct val="0"/>
              </a:spcBef>
              <a:spcAft>
                <a:spcPct val="0"/>
              </a:spcAft>
              <a:buClr>
                <a:srgbClr val="404040">
                  <a:lumMod val="50000"/>
                </a:srgbClr>
              </a:buClr>
              <a:buSzPct val="75000"/>
            </a:pPr>
            <a:endParaRPr kumimoji="0" lang="de-DE" sz="1800" b="1" i="0" u="none" strike="noStrike" kern="0" cap="none" spc="200" normalizeH="0" baseline="0" noProof="0" dirty="0">
              <a:ln>
                <a:noFill/>
              </a:ln>
              <a:solidFill>
                <a:srgbClr val="FFFFFF"/>
              </a:solidFill>
              <a:effectLst/>
              <a:uLnTx/>
              <a:uFillTx/>
              <a:latin typeface="Georgia" panose="02040502050405020303" pitchFamily="18" charset="0"/>
              <a:cs typeface="Calibri" panose="020F0502020204030204" pitchFamily="34" charset="0"/>
            </a:endParaRPr>
          </a:p>
        </p:txBody>
      </p:sp>
      <p:sp>
        <p:nvSpPr>
          <p:cNvPr id="35" name="Rectangle 14">
            <a:extLst>
              <a:ext uri="{FF2B5EF4-FFF2-40B4-BE49-F238E27FC236}">
                <a16:creationId xmlns:a16="http://schemas.microsoft.com/office/drawing/2014/main" id="{D1354499-53CD-2D47-B1E3-691DCF96EAFF}"/>
              </a:ext>
            </a:extLst>
          </p:cNvPr>
          <p:cNvSpPr/>
          <p:nvPr/>
        </p:nvSpPr>
        <p:spPr bwMode="auto">
          <a:xfrm>
            <a:off x="4407834" y="719144"/>
            <a:ext cx="3338605" cy="987844"/>
          </a:xfrm>
          <a:prstGeom prst="rect">
            <a:avLst/>
          </a:prstGeom>
          <a:solidFill>
            <a:srgbClr val="004080"/>
          </a:solidFill>
          <a:ln w="28575" cap="flat" cmpd="sng" algn="ctr">
            <a:noFill/>
            <a:prstDash val="solid"/>
            <a:round/>
            <a:headEnd type="none" w="med" len="med"/>
            <a:tailEnd type="none" w="med" len="med"/>
          </a:ln>
          <a:effectLst/>
        </p:spPr>
        <p:txBody>
          <a:bodyPr vert="horz" wrap="none" lIns="104334" tIns="52483" rIns="102598" bIns="52483" numCol="1" rtlCol="0" anchor="ctr" anchorCtr="0" compatLnSpc="1">
            <a:prstTxWarp prst="textNoShape">
              <a:avLst/>
            </a:prstTxWarp>
          </a:bodyPr>
          <a:lstStyle/>
          <a:p>
            <a:pPr algn="ctr" defTabSz="994766" fontAlgn="base">
              <a:spcBef>
                <a:spcPct val="0"/>
              </a:spcBef>
              <a:spcAft>
                <a:spcPct val="0"/>
              </a:spcAft>
              <a:buClr>
                <a:srgbClr val="404040">
                  <a:lumMod val="50000"/>
                </a:srgbClr>
              </a:buClr>
              <a:buSzPct val="75000"/>
            </a:pPr>
            <a:endParaRPr kumimoji="0" lang="de-DE" sz="1800" b="1" i="0" u="none" strike="noStrike" kern="0" cap="none" spc="200" normalizeH="0" baseline="0" noProof="0" dirty="0">
              <a:ln>
                <a:noFill/>
              </a:ln>
              <a:solidFill>
                <a:srgbClr val="FFFFFF"/>
              </a:solidFill>
              <a:effectLst/>
              <a:uLnTx/>
              <a:uFillTx/>
              <a:latin typeface="Georgia" panose="02040502050405020303" pitchFamily="18" charset="0"/>
              <a:cs typeface="Calibri" panose="020F0502020204030204" pitchFamily="34" charset="0"/>
            </a:endParaRPr>
          </a:p>
        </p:txBody>
      </p:sp>
      <p:sp>
        <p:nvSpPr>
          <p:cNvPr id="36" name="Rectangle 15">
            <a:extLst>
              <a:ext uri="{FF2B5EF4-FFF2-40B4-BE49-F238E27FC236}">
                <a16:creationId xmlns:a16="http://schemas.microsoft.com/office/drawing/2014/main" id="{0C0FBB6A-654B-6446-8816-183D0B0CF59B}"/>
              </a:ext>
            </a:extLst>
          </p:cNvPr>
          <p:cNvSpPr/>
          <p:nvPr/>
        </p:nvSpPr>
        <p:spPr bwMode="auto">
          <a:xfrm>
            <a:off x="8579331" y="719144"/>
            <a:ext cx="3338605" cy="987844"/>
          </a:xfrm>
          <a:prstGeom prst="rect">
            <a:avLst/>
          </a:prstGeom>
          <a:solidFill>
            <a:srgbClr val="A6A6A6"/>
          </a:solidFill>
          <a:ln w="28575" cap="flat" cmpd="sng" algn="ctr">
            <a:noFill/>
            <a:prstDash val="solid"/>
            <a:round/>
            <a:headEnd type="none" w="med" len="med"/>
            <a:tailEnd type="none" w="med" len="med"/>
          </a:ln>
          <a:effectLst/>
        </p:spPr>
        <p:txBody>
          <a:bodyPr vert="horz" wrap="none" lIns="104334" tIns="52483" rIns="102598" bIns="52483" numCol="1" rtlCol="0" anchor="ctr" anchorCtr="0" compatLnSpc="1">
            <a:prstTxWarp prst="textNoShape">
              <a:avLst/>
            </a:prstTxWarp>
          </a:bodyPr>
          <a:lstStyle/>
          <a:p>
            <a:pPr marL="0" marR="0" lvl="0" indent="0" algn="ctr" defTabSz="994766" eaLnBrk="1" fontAlgn="base" latinLnBrk="0" hangingPunct="1">
              <a:lnSpc>
                <a:spcPct val="100000"/>
              </a:lnSpc>
              <a:spcBef>
                <a:spcPct val="0"/>
              </a:spcBef>
              <a:spcAft>
                <a:spcPct val="0"/>
              </a:spcAft>
              <a:buClr>
                <a:srgbClr val="404040">
                  <a:lumMod val="50000"/>
                </a:srgbClr>
              </a:buClr>
              <a:buSzPct val="75000"/>
              <a:buFontTx/>
              <a:buNone/>
              <a:tabLst/>
              <a:defRPr/>
            </a:pPr>
            <a:endParaRPr kumimoji="0" lang="de-DE" sz="1800" b="1" i="0" u="none" strike="noStrike" kern="0" cap="none" spc="200" normalizeH="0" baseline="0" noProof="0" dirty="0">
              <a:ln>
                <a:noFill/>
              </a:ln>
              <a:solidFill>
                <a:srgbClr val="FFFFFF"/>
              </a:solidFill>
              <a:effectLst/>
              <a:uLnTx/>
              <a:uFillTx/>
              <a:latin typeface="Georgia" panose="02040502050405020303" pitchFamily="18" charset="0"/>
              <a:cs typeface="Calibri" panose="020F0502020204030204" pitchFamily="34" charset="0"/>
            </a:endParaRPr>
          </a:p>
        </p:txBody>
      </p:sp>
      <p:sp>
        <p:nvSpPr>
          <p:cNvPr id="40" name="Arrow: Chevron 26">
            <a:extLst>
              <a:ext uri="{FF2B5EF4-FFF2-40B4-BE49-F238E27FC236}">
                <a16:creationId xmlns:a16="http://schemas.microsoft.com/office/drawing/2014/main" id="{9336E1D5-3F0D-2B44-A5E5-FDCEF2F1C786}"/>
              </a:ext>
            </a:extLst>
          </p:cNvPr>
          <p:cNvSpPr/>
          <p:nvPr/>
        </p:nvSpPr>
        <p:spPr bwMode="auto">
          <a:xfrm>
            <a:off x="3883799" y="2056074"/>
            <a:ext cx="217732" cy="1485230"/>
          </a:xfrm>
          <a:prstGeom prst="chevron">
            <a:avLst>
              <a:gd name="adj" fmla="val 60551"/>
            </a:avLst>
          </a:prstGeom>
          <a:solidFill>
            <a:srgbClr val="A2A2A2"/>
          </a:solidFill>
          <a:ln w="9525" cap="flat" cmpd="sng" algn="ctr">
            <a:noFill/>
            <a:prstDash val="solid"/>
            <a:round/>
            <a:headEnd type="none" w="med" len="med"/>
            <a:tailEnd type="none" w="med" len="med"/>
          </a:ln>
          <a:effectLst/>
        </p:spPr>
        <p:txBody>
          <a:bodyPr vert="horz" wrap="none" lIns="104334" tIns="52483" rIns="102598" bIns="52483" numCol="1" rtlCol="0" anchor="ctr" anchorCtr="0" compatLnSpc="1">
            <a:prstTxWarp prst="textNoShape">
              <a:avLst/>
            </a:prstTxWarp>
          </a:bodyPr>
          <a:lstStyle/>
          <a:p>
            <a:pPr algn="ctr" defTabSz="994766" fontAlgn="base">
              <a:spcBef>
                <a:spcPct val="0"/>
              </a:spcBef>
              <a:spcAft>
                <a:spcPct val="0"/>
              </a:spcAft>
              <a:buClr>
                <a:srgbClr val="198CFF"/>
              </a:buClr>
              <a:buSzPct val="75000"/>
            </a:pPr>
            <a:endParaRPr lang="de-DE" sz="1799">
              <a:solidFill>
                <a:srgbClr val="646464"/>
              </a:solidFill>
              <a:latin typeface="Arial" charset="0"/>
            </a:endParaRPr>
          </a:p>
        </p:txBody>
      </p:sp>
      <p:sp>
        <p:nvSpPr>
          <p:cNvPr id="41" name="Arrow: Chevron 25">
            <a:extLst>
              <a:ext uri="{FF2B5EF4-FFF2-40B4-BE49-F238E27FC236}">
                <a16:creationId xmlns:a16="http://schemas.microsoft.com/office/drawing/2014/main" id="{FDBBA407-6D26-B04A-9A5E-948E315D2B73}"/>
              </a:ext>
            </a:extLst>
          </p:cNvPr>
          <p:cNvSpPr/>
          <p:nvPr/>
        </p:nvSpPr>
        <p:spPr bwMode="auto">
          <a:xfrm>
            <a:off x="8117960" y="2056074"/>
            <a:ext cx="217732" cy="1485230"/>
          </a:xfrm>
          <a:prstGeom prst="chevron">
            <a:avLst>
              <a:gd name="adj" fmla="val 60551"/>
            </a:avLst>
          </a:prstGeom>
          <a:solidFill>
            <a:srgbClr val="A2A2A2"/>
          </a:solidFill>
          <a:ln w="9525" cap="flat" cmpd="sng" algn="ctr">
            <a:noFill/>
            <a:prstDash val="solid"/>
            <a:round/>
            <a:headEnd type="none" w="med" len="med"/>
            <a:tailEnd type="none" w="med" len="med"/>
          </a:ln>
          <a:effectLst/>
        </p:spPr>
        <p:txBody>
          <a:bodyPr vert="horz" wrap="none" lIns="104334" tIns="52483" rIns="102598" bIns="52483" numCol="1" rtlCol="0" anchor="ctr" anchorCtr="0" compatLnSpc="1">
            <a:prstTxWarp prst="textNoShape">
              <a:avLst/>
            </a:prstTxWarp>
          </a:bodyPr>
          <a:lstStyle/>
          <a:p>
            <a:pPr algn="ctr" defTabSz="994766" fontAlgn="base">
              <a:spcBef>
                <a:spcPct val="0"/>
              </a:spcBef>
              <a:spcAft>
                <a:spcPct val="0"/>
              </a:spcAft>
              <a:buClr>
                <a:srgbClr val="198CFF"/>
              </a:buClr>
              <a:buSzPct val="75000"/>
            </a:pPr>
            <a:endParaRPr lang="de-DE" sz="1799">
              <a:solidFill>
                <a:srgbClr val="646464"/>
              </a:solidFill>
              <a:latin typeface="Arial" charset="0"/>
            </a:endParaRPr>
          </a:p>
        </p:txBody>
      </p:sp>
      <p:sp>
        <p:nvSpPr>
          <p:cNvPr id="49" name="Textfeld 48">
            <a:extLst>
              <a:ext uri="{FF2B5EF4-FFF2-40B4-BE49-F238E27FC236}">
                <a16:creationId xmlns:a16="http://schemas.microsoft.com/office/drawing/2014/main" id="{E797D2D2-F1AE-7F44-9D53-B0986346702B}"/>
              </a:ext>
            </a:extLst>
          </p:cNvPr>
          <p:cNvSpPr txBox="1"/>
          <p:nvPr/>
        </p:nvSpPr>
        <p:spPr>
          <a:xfrm>
            <a:off x="312208" y="2241668"/>
            <a:ext cx="3250761" cy="2108269"/>
          </a:xfrm>
          <a:prstGeom prst="rect">
            <a:avLst/>
          </a:prstGeom>
        </p:spPr>
        <p:txBody>
          <a:bodyPr wrap="square" rtlCol="0">
            <a:spAutoFit/>
          </a:bodyPr>
          <a:lstStyle>
            <a:defPPr>
              <a:defRPr lang="de-DE"/>
            </a:defPPr>
            <a:lvl1pPr marL="342694" indent="-342694" defTabSz="994766" fontAlgn="base">
              <a:spcBef>
                <a:spcPct val="0"/>
              </a:spcBef>
              <a:spcAft>
                <a:spcPts val="600"/>
              </a:spcAft>
              <a:buClr>
                <a:srgbClr val="404040">
                  <a:lumMod val="50000"/>
                </a:srgbClr>
              </a:buClr>
              <a:buSzPct val="75000"/>
              <a:buFont typeface="Wingdings" panose="05000000000000000000" pitchFamily="2" charset="2"/>
              <a:buChar char="§"/>
              <a:defRPr sz="1400">
                <a:solidFill>
                  <a:srgbClr val="646464"/>
                </a:solidFill>
                <a:latin typeface="Tahoma"/>
                <a:cs typeface="Calibri" panose="020F0502020204030204" pitchFamily="34" charset="0"/>
              </a:defRPr>
            </a:lvl1pPr>
          </a:lstStyle>
          <a:p>
            <a:pPr marL="0" indent="0">
              <a:buNone/>
            </a:pPr>
            <a:r>
              <a:rPr lang="de-DE" altLang="de-DE" dirty="0"/>
              <a:t>„Der Schulträger lädt gemeinsam mit den Leiterinnen und Leitern der Tageseinrichtungen für Kinder und der Grundschulen die Eltern, deren Kinder in zwei Jahren eingeschult werden, zu einer Informationsveranstaltung ein, in der die Eltern über vorschulische Fördermöglichkeiten beraten werden.“</a:t>
            </a:r>
          </a:p>
          <a:p>
            <a:endParaRPr lang="de-DE" dirty="0"/>
          </a:p>
        </p:txBody>
      </p:sp>
      <p:sp>
        <p:nvSpPr>
          <p:cNvPr id="50" name="Textfeld 49">
            <a:extLst>
              <a:ext uri="{FF2B5EF4-FFF2-40B4-BE49-F238E27FC236}">
                <a16:creationId xmlns:a16="http://schemas.microsoft.com/office/drawing/2014/main" id="{7008C0BB-BA5A-FF4F-A888-A2958BC32C45}"/>
              </a:ext>
            </a:extLst>
          </p:cNvPr>
          <p:cNvSpPr txBox="1"/>
          <p:nvPr/>
        </p:nvSpPr>
        <p:spPr>
          <a:xfrm>
            <a:off x="4698204" y="1938949"/>
            <a:ext cx="2885674" cy="2831544"/>
          </a:xfrm>
          <a:prstGeom prst="rect">
            <a:avLst/>
          </a:prstGeom>
        </p:spPr>
        <p:txBody>
          <a:bodyPr wrap="square" rtlCol="0">
            <a:spAutoFit/>
          </a:bodyPr>
          <a:lstStyle/>
          <a:p>
            <a:pPr marL="342694" indent="-342694" defTabSz="994766" fontAlgn="base">
              <a:spcBef>
                <a:spcPct val="0"/>
              </a:spcBef>
              <a:spcAft>
                <a:spcPts val="600"/>
              </a:spcAft>
              <a:buClr>
                <a:srgbClr val="404040">
                  <a:lumMod val="50000"/>
                </a:srgbClr>
              </a:buClr>
              <a:buSzPct val="75000"/>
              <a:buFont typeface="Wingdings" panose="05000000000000000000" pitchFamily="2" charset="2"/>
              <a:buChar char="§"/>
            </a:pPr>
            <a:r>
              <a:rPr lang="de-DE" sz="1400" dirty="0">
                <a:solidFill>
                  <a:srgbClr val="646464"/>
                </a:solidFill>
                <a:latin typeface="Tahoma"/>
                <a:cs typeface="Calibri" panose="020F0502020204030204" pitchFamily="34" charset="0"/>
              </a:rPr>
              <a:t>Förderung seiner Persönlichkeit.</a:t>
            </a:r>
          </a:p>
          <a:p>
            <a:pPr marL="342694" indent="-342694" defTabSz="994766" fontAlgn="base">
              <a:spcBef>
                <a:spcPct val="0"/>
              </a:spcBef>
              <a:spcAft>
                <a:spcPts val="600"/>
              </a:spcAft>
              <a:buClr>
                <a:srgbClr val="404040">
                  <a:lumMod val="50000"/>
                </a:srgbClr>
              </a:buClr>
              <a:buSzPct val="75000"/>
              <a:buFont typeface="Wingdings" panose="05000000000000000000" pitchFamily="2" charset="2"/>
              <a:buChar char="§"/>
            </a:pPr>
            <a:r>
              <a:rPr lang="de-DE" sz="1400" dirty="0">
                <a:solidFill>
                  <a:srgbClr val="646464"/>
                </a:solidFill>
                <a:latin typeface="Tahoma"/>
                <a:cs typeface="Calibri" panose="020F0502020204030204" pitchFamily="34" charset="0"/>
              </a:rPr>
              <a:t>Seine Erziehung liegt in der vorrangigen Verantwortung seiner Eltern. </a:t>
            </a:r>
          </a:p>
          <a:p>
            <a:pPr marL="342694" indent="-342694" defTabSz="994766" fontAlgn="base">
              <a:spcBef>
                <a:spcPct val="0"/>
              </a:spcBef>
              <a:spcAft>
                <a:spcPts val="600"/>
              </a:spcAft>
              <a:buClr>
                <a:srgbClr val="404040">
                  <a:lumMod val="50000"/>
                </a:srgbClr>
              </a:buClr>
              <a:buSzPct val="75000"/>
              <a:buFont typeface="Wingdings" panose="05000000000000000000" pitchFamily="2" charset="2"/>
              <a:buChar char="§"/>
            </a:pPr>
            <a:r>
              <a:rPr lang="de-DE" sz="1400" dirty="0">
                <a:solidFill>
                  <a:srgbClr val="646464"/>
                </a:solidFill>
                <a:latin typeface="Tahoma"/>
                <a:cs typeface="Calibri" panose="020F0502020204030204" pitchFamily="34" charset="0"/>
              </a:rPr>
              <a:t>Kindertageseinrichtungen und Kindertagespflege ergänzen die Förderung des Kindes in der Familie und unterstützen die Eltern in der Wahrnehmung ihres Erziehungsauftrages. </a:t>
            </a:r>
          </a:p>
        </p:txBody>
      </p:sp>
      <p:sp>
        <p:nvSpPr>
          <p:cNvPr id="51" name="Textfeld 50">
            <a:extLst>
              <a:ext uri="{FF2B5EF4-FFF2-40B4-BE49-F238E27FC236}">
                <a16:creationId xmlns:a16="http://schemas.microsoft.com/office/drawing/2014/main" id="{51ADBFF5-50BF-4F40-B01F-715AD3924559}"/>
              </a:ext>
            </a:extLst>
          </p:cNvPr>
          <p:cNvSpPr txBox="1"/>
          <p:nvPr/>
        </p:nvSpPr>
        <p:spPr>
          <a:xfrm>
            <a:off x="8619994" y="1709827"/>
            <a:ext cx="3297941" cy="3477875"/>
          </a:xfrm>
          <a:prstGeom prst="rect">
            <a:avLst/>
          </a:prstGeom>
        </p:spPr>
        <p:txBody>
          <a:bodyPr wrap="square" rtlCol="0">
            <a:spAutoFit/>
          </a:bodyPr>
          <a:lstStyle>
            <a:defPPr>
              <a:defRPr lang="de-DE"/>
            </a:defPPr>
            <a:lvl1pPr marL="342694" indent="-342694" defTabSz="994766" fontAlgn="base">
              <a:spcBef>
                <a:spcPct val="0"/>
              </a:spcBef>
              <a:spcAft>
                <a:spcPts val="600"/>
              </a:spcAft>
              <a:buClr>
                <a:srgbClr val="404040">
                  <a:lumMod val="50000"/>
                </a:srgbClr>
              </a:buClr>
              <a:buSzPct val="75000"/>
              <a:buFont typeface="Wingdings" panose="05000000000000000000" pitchFamily="2" charset="2"/>
              <a:buChar char="§"/>
              <a:defRPr sz="1400">
                <a:solidFill>
                  <a:srgbClr val="646464"/>
                </a:solidFill>
                <a:latin typeface="Tahoma"/>
                <a:cs typeface="Calibri" panose="020F0502020204030204" pitchFamily="34" charset="0"/>
              </a:defRPr>
            </a:lvl1pPr>
          </a:lstStyle>
          <a:p>
            <a:r>
              <a:rPr lang="de-DE" dirty="0"/>
              <a:t>Jeder junge Mensch hat ohne Rücksicht auf seine wirtschaftliche Lage und Herkunft und sein Geschlecht ein Recht auf schulische Bildung, Erziehung und individuelle Förderung. </a:t>
            </a:r>
          </a:p>
          <a:p>
            <a:r>
              <a:rPr lang="de-DE" dirty="0"/>
              <a:t>Die Fähigkeiten und Neigungen des jungen Menschen sowie der Wille der Eltern bestimmen seinen Bildungsweg. </a:t>
            </a:r>
          </a:p>
          <a:p>
            <a:r>
              <a:rPr lang="de-DE" dirty="0"/>
              <a:t>Der Zugang zur schulischen Bildung steht jeder Schülerin und jedem Schüler nach Lernbereitschaft und Leistungsfähigkeit offen.</a:t>
            </a:r>
          </a:p>
        </p:txBody>
      </p:sp>
      <p:sp>
        <p:nvSpPr>
          <p:cNvPr id="52" name="Foliennummernplatzhalter 7">
            <a:extLst>
              <a:ext uri="{FF2B5EF4-FFF2-40B4-BE49-F238E27FC236}">
                <a16:creationId xmlns:a16="http://schemas.microsoft.com/office/drawing/2014/main" id="{CE54D95E-575A-3F44-8F2F-8EFF0B85A50D}"/>
              </a:ext>
            </a:extLst>
          </p:cNvPr>
          <p:cNvSpPr txBox="1">
            <a:spLocks/>
          </p:cNvSpPr>
          <p:nvPr/>
        </p:nvSpPr>
        <p:spPr>
          <a:xfrm>
            <a:off x="323850" y="7127675"/>
            <a:ext cx="432000" cy="360000"/>
          </a:xfrm>
          <a:prstGeom prst="rect">
            <a:avLst/>
          </a:prstGeom>
        </p:spPr>
        <p:txBody>
          <a:bodyPr vert="horz" wrap="none" lIns="0" tIns="0" rIns="0" bIns="0" rtlCol="0" anchor="ctr"/>
          <a:lstStyle>
            <a:defPPr>
              <a:defRPr lang="de-DE"/>
            </a:defPPr>
            <a:lvl1pPr marL="0" algn="r" defTabSz="1042526" rtl="0" eaLnBrk="1" latinLnBrk="0" hangingPunct="1">
              <a:defRPr sz="1200" b="1" kern="1200">
                <a:solidFill>
                  <a:schemeClr val="tx1"/>
                </a:solidFill>
                <a:latin typeface="+mj-lt"/>
                <a:ea typeface="Verdana" pitchFamily="34" charset="0"/>
                <a:cs typeface="Verdana" pitchFamily="34" charset="0"/>
              </a:defRPr>
            </a:lvl1pPr>
            <a:lvl2pPr marL="521263" algn="l" defTabSz="1042526" rtl="0" eaLnBrk="1" latinLnBrk="0" hangingPunct="1">
              <a:defRPr sz="2100" kern="1200">
                <a:solidFill>
                  <a:schemeClr val="tx1"/>
                </a:solidFill>
                <a:latin typeface="+mn-lt"/>
                <a:ea typeface="+mn-ea"/>
                <a:cs typeface="+mn-cs"/>
              </a:defRPr>
            </a:lvl2pPr>
            <a:lvl3pPr marL="1042526" algn="l" defTabSz="1042526" rtl="0" eaLnBrk="1" latinLnBrk="0" hangingPunct="1">
              <a:defRPr sz="2100" kern="1200">
                <a:solidFill>
                  <a:schemeClr val="tx1"/>
                </a:solidFill>
                <a:latin typeface="+mn-lt"/>
                <a:ea typeface="+mn-ea"/>
                <a:cs typeface="+mn-cs"/>
              </a:defRPr>
            </a:lvl3pPr>
            <a:lvl4pPr marL="1563791" algn="l" defTabSz="1042526" rtl="0" eaLnBrk="1" latinLnBrk="0" hangingPunct="1">
              <a:defRPr sz="2100" kern="1200">
                <a:solidFill>
                  <a:schemeClr val="tx1"/>
                </a:solidFill>
                <a:latin typeface="+mn-lt"/>
                <a:ea typeface="+mn-ea"/>
                <a:cs typeface="+mn-cs"/>
              </a:defRPr>
            </a:lvl4pPr>
            <a:lvl5pPr marL="2085055" algn="l" defTabSz="1042526" rtl="0" eaLnBrk="1" latinLnBrk="0" hangingPunct="1">
              <a:defRPr sz="2100" kern="1200">
                <a:solidFill>
                  <a:schemeClr val="tx1"/>
                </a:solidFill>
                <a:latin typeface="+mn-lt"/>
                <a:ea typeface="+mn-ea"/>
                <a:cs typeface="+mn-cs"/>
              </a:defRPr>
            </a:lvl5pPr>
            <a:lvl6pPr marL="2606319" algn="l" defTabSz="1042526" rtl="0" eaLnBrk="1" latinLnBrk="0" hangingPunct="1">
              <a:defRPr sz="2100" kern="1200">
                <a:solidFill>
                  <a:schemeClr val="tx1"/>
                </a:solidFill>
                <a:latin typeface="+mn-lt"/>
                <a:ea typeface="+mn-ea"/>
                <a:cs typeface="+mn-cs"/>
              </a:defRPr>
            </a:lvl6pPr>
            <a:lvl7pPr marL="3127580" algn="l" defTabSz="1042526" rtl="0" eaLnBrk="1" latinLnBrk="0" hangingPunct="1">
              <a:defRPr sz="2100" kern="1200">
                <a:solidFill>
                  <a:schemeClr val="tx1"/>
                </a:solidFill>
                <a:latin typeface="+mn-lt"/>
                <a:ea typeface="+mn-ea"/>
                <a:cs typeface="+mn-cs"/>
              </a:defRPr>
            </a:lvl7pPr>
            <a:lvl8pPr marL="3648845" algn="l" defTabSz="1042526" rtl="0" eaLnBrk="1" latinLnBrk="0" hangingPunct="1">
              <a:defRPr sz="2100" kern="1200">
                <a:solidFill>
                  <a:schemeClr val="tx1"/>
                </a:solidFill>
                <a:latin typeface="+mn-lt"/>
                <a:ea typeface="+mn-ea"/>
                <a:cs typeface="+mn-cs"/>
              </a:defRPr>
            </a:lvl8pPr>
            <a:lvl9pPr marL="4170111" algn="l" defTabSz="1042526" rtl="0" eaLnBrk="1" latinLnBrk="0" hangingPunct="1">
              <a:defRPr sz="2100" kern="1200">
                <a:solidFill>
                  <a:schemeClr val="tx1"/>
                </a:solidFill>
                <a:latin typeface="+mn-lt"/>
                <a:ea typeface="+mn-ea"/>
                <a:cs typeface="+mn-cs"/>
              </a:defRPr>
            </a:lvl9pPr>
          </a:lstStyle>
          <a:p>
            <a:fld id="{9A4D8D99-31A6-CE44-A4D9-5366428C25E9}" type="slidenum">
              <a:rPr lang="en-US" smtClean="0">
                <a:solidFill>
                  <a:srgbClr val="404040"/>
                </a:solidFill>
                <a:latin typeface="Tahoma"/>
              </a:rPr>
              <a:pPr/>
              <a:t>3</a:t>
            </a:fld>
            <a:endParaRPr lang="en-US" dirty="0">
              <a:solidFill>
                <a:srgbClr val="404040"/>
              </a:solidFill>
              <a:latin typeface="Tahoma"/>
            </a:endParaRPr>
          </a:p>
        </p:txBody>
      </p:sp>
      <p:sp>
        <p:nvSpPr>
          <p:cNvPr id="53" name="Fußzeilenplatzhalter 27">
            <a:extLst>
              <a:ext uri="{FF2B5EF4-FFF2-40B4-BE49-F238E27FC236}">
                <a16:creationId xmlns:a16="http://schemas.microsoft.com/office/drawing/2014/main" id="{58175306-4AB8-5F40-AF9E-30C6E2777AC8}"/>
              </a:ext>
            </a:extLst>
          </p:cNvPr>
          <p:cNvSpPr txBox="1">
            <a:spLocks/>
          </p:cNvSpPr>
          <p:nvPr/>
        </p:nvSpPr>
        <p:spPr>
          <a:xfrm>
            <a:off x="755850" y="7127675"/>
            <a:ext cx="4680000" cy="360000"/>
          </a:xfrm>
          <a:prstGeom prst="rect">
            <a:avLst/>
          </a:prstGeom>
        </p:spPr>
        <p:txBody>
          <a:bodyPr vert="horz" lIns="0" tIns="45720" rIns="91440" bIns="45720" rtlCol="0" anchor="ctr"/>
          <a:lstStyle>
            <a:defPPr>
              <a:defRPr lang="de-DE"/>
            </a:defPPr>
            <a:lvl1pPr marL="0" algn="l" defTabSz="1042526" rtl="0" eaLnBrk="1" latinLnBrk="0" hangingPunct="1">
              <a:defRPr sz="1200" kern="1200">
                <a:solidFill>
                  <a:schemeClr val="tx1"/>
                </a:solidFill>
                <a:latin typeface="+mn-lt"/>
                <a:ea typeface="+mn-ea"/>
                <a:cs typeface="+mn-cs"/>
              </a:defRPr>
            </a:lvl1pPr>
            <a:lvl2pPr marL="521263" algn="l" defTabSz="1042526" rtl="0" eaLnBrk="1" latinLnBrk="0" hangingPunct="1">
              <a:defRPr sz="2100" kern="1200">
                <a:solidFill>
                  <a:schemeClr val="tx1"/>
                </a:solidFill>
                <a:latin typeface="+mn-lt"/>
                <a:ea typeface="+mn-ea"/>
                <a:cs typeface="+mn-cs"/>
              </a:defRPr>
            </a:lvl2pPr>
            <a:lvl3pPr marL="1042526" algn="l" defTabSz="1042526" rtl="0" eaLnBrk="1" latinLnBrk="0" hangingPunct="1">
              <a:defRPr sz="2100" kern="1200">
                <a:solidFill>
                  <a:schemeClr val="tx1"/>
                </a:solidFill>
                <a:latin typeface="+mn-lt"/>
                <a:ea typeface="+mn-ea"/>
                <a:cs typeface="+mn-cs"/>
              </a:defRPr>
            </a:lvl3pPr>
            <a:lvl4pPr marL="1563791" algn="l" defTabSz="1042526" rtl="0" eaLnBrk="1" latinLnBrk="0" hangingPunct="1">
              <a:defRPr sz="2100" kern="1200">
                <a:solidFill>
                  <a:schemeClr val="tx1"/>
                </a:solidFill>
                <a:latin typeface="+mn-lt"/>
                <a:ea typeface="+mn-ea"/>
                <a:cs typeface="+mn-cs"/>
              </a:defRPr>
            </a:lvl4pPr>
            <a:lvl5pPr marL="2085055" algn="l" defTabSz="1042526" rtl="0" eaLnBrk="1" latinLnBrk="0" hangingPunct="1">
              <a:defRPr sz="2100" kern="1200">
                <a:solidFill>
                  <a:schemeClr val="tx1"/>
                </a:solidFill>
                <a:latin typeface="+mn-lt"/>
                <a:ea typeface="+mn-ea"/>
                <a:cs typeface="+mn-cs"/>
              </a:defRPr>
            </a:lvl5pPr>
            <a:lvl6pPr marL="2606319" algn="l" defTabSz="1042526" rtl="0" eaLnBrk="1" latinLnBrk="0" hangingPunct="1">
              <a:defRPr sz="2100" kern="1200">
                <a:solidFill>
                  <a:schemeClr val="tx1"/>
                </a:solidFill>
                <a:latin typeface="+mn-lt"/>
                <a:ea typeface="+mn-ea"/>
                <a:cs typeface="+mn-cs"/>
              </a:defRPr>
            </a:lvl6pPr>
            <a:lvl7pPr marL="3127580" algn="l" defTabSz="1042526" rtl="0" eaLnBrk="1" latinLnBrk="0" hangingPunct="1">
              <a:defRPr sz="2100" kern="1200">
                <a:solidFill>
                  <a:schemeClr val="tx1"/>
                </a:solidFill>
                <a:latin typeface="+mn-lt"/>
                <a:ea typeface="+mn-ea"/>
                <a:cs typeface="+mn-cs"/>
              </a:defRPr>
            </a:lvl7pPr>
            <a:lvl8pPr marL="3648845" algn="l" defTabSz="1042526" rtl="0" eaLnBrk="1" latinLnBrk="0" hangingPunct="1">
              <a:defRPr sz="2100" kern="1200">
                <a:solidFill>
                  <a:schemeClr val="tx1"/>
                </a:solidFill>
                <a:latin typeface="+mn-lt"/>
                <a:ea typeface="+mn-ea"/>
                <a:cs typeface="+mn-cs"/>
              </a:defRPr>
            </a:lvl8pPr>
            <a:lvl9pPr marL="4170111" algn="l" defTabSz="1042526" rtl="0" eaLnBrk="1" latinLnBrk="0" hangingPunct="1">
              <a:defRPr sz="2100" kern="1200">
                <a:solidFill>
                  <a:schemeClr val="tx1"/>
                </a:solidFill>
                <a:latin typeface="+mn-lt"/>
                <a:ea typeface="+mn-ea"/>
                <a:cs typeface="+mn-cs"/>
              </a:defRPr>
            </a:lvl9pPr>
          </a:lstStyle>
          <a:p>
            <a:r>
              <a:rPr lang="de-DE">
                <a:solidFill>
                  <a:srgbClr val="404040"/>
                </a:solidFill>
                <a:latin typeface="Tahoma"/>
              </a:rPr>
              <a:t> | </a:t>
            </a:r>
            <a:endParaRPr lang="de-DE" dirty="0">
              <a:solidFill>
                <a:srgbClr val="404040"/>
              </a:solidFill>
              <a:latin typeface="Tahoma"/>
            </a:endParaRPr>
          </a:p>
        </p:txBody>
      </p:sp>
      <p:sp>
        <p:nvSpPr>
          <p:cNvPr id="58" name="Textfeld 57">
            <a:extLst>
              <a:ext uri="{FF2B5EF4-FFF2-40B4-BE49-F238E27FC236}">
                <a16:creationId xmlns:a16="http://schemas.microsoft.com/office/drawing/2014/main" id="{E532AE4B-6845-0446-83C7-ABACA377C989}"/>
              </a:ext>
            </a:extLst>
          </p:cNvPr>
          <p:cNvSpPr txBox="1"/>
          <p:nvPr/>
        </p:nvSpPr>
        <p:spPr>
          <a:xfrm>
            <a:off x="236500" y="797567"/>
            <a:ext cx="3326469" cy="738664"/>
          </a:xfrm>
          <a:prstGeom prst="rect">
            <a:avLst/>
          </a:prstGeom>
          <a:noFill/>
        </p:spPr>
        <p:txBody>
          <a:bodyPr wrap="square" rtlCol="0">
            <a:spAutoFit/>
          </a:bodyPr>
          <a:lstStyle/>
          <a:p>
            <a:pPr lvl="0" algn="ctr" defTabSz="994766" fontAlgn="base">
              <a:spcBef>
                <a:spcPct val="0"/>
              </a:spcBef>
              <a:spcAft>
                <a:spcPct val="0"/>
              </a:spcAft>
              <a:buClr>
                <a:srgbClr val="404040">
                  <a:lumMod val="50000"/>
                </a:srgbClr>
              </a:buClr>
              <a:buSzPct val="75000"/>
            </a:pPr>
            <a:r>
              <a:rPr lang="de-DE" sz="1400" b="1" kern="0" spc="200" dirty="0">
                <a:solidFill>
                  <a:srgbClr val="FFFFFF"/>
                </a:solidFill>
                <a:latin typeface="Georgia" panose="02040502050405020303" pitchFamily="18" charset="0"/>
                <a:cs typeface="Calibri" panose="020F0502020204030204" pitchFamily="34" charset="0"/>
              </a:rPr>
              <a:t>Informationsveranstaltung für Eltern nach § 36 Schulgesetz NRW</a:t>
            </a:r>
          </a:p>
        </p:txBody>
      </p:sp>
      <p:sp>
        <p:nvSpPr>
          <p:cNvPr id="59" name="Textfeld 58">
            <a:extLst>
              <a:ext uri="{FF2B5EF4-FFF2-40B4-BE49-F238E27FC236}">
                <a16:creationId xmlns:a16="http://schemas.microsoft.com/office/drawing/2014/main" id="{98B7326B-FB6B-074F-BECE-68AE3D999488}"/>
              </a:ext>
            </a:extLst>
          </p:cNvPr>
          <p:cNvSpPr txBox="1"/>
          <p:nvPr/>
        </p:nvSpPr>
        <p:spPr>
          <a:xfrm>
            <a:off x="4477807" y="951105"/>
            <a:ext cx="3326469" cy="523220"/>
          </a:xfrm>
          <a:prstGeom prst="rect">
            <a:avLst/>
          </a:prstGeom>
          <a:noFill/>
        </p:spPr>
        <p:txBody>
          <a:bodyPr wrap="square" rtlCol="0">
            <a:spAutoFit/>
          </a:bodyPr>
          <a:lstStyle/>
          <a:p>
            <a:pPr lvl="0" algn="ctr" defTabSz="994766" fontAlgn="base">
              <a:spcBef>
                <a:spcPct val="0"/>
              </a:spcBef>
              <a:spcAft>
                <a:spcPct val="0"/>
              </a:spcAft>
              <a:buClr>
                <a:srgbClr val="404040">
                  <a:lumMod val="50000"/>
                </a:srgbClr>
              </a:buClr>
              <a:buSzPct val="75000"/>
            </a:pPr>
            <a:r>
              <a:rPr lang="de-DE" sz="1400" b="1" kern="0" spc="200" dirty="0">
                <a:solidFill>
                  <a:srgbClr val="FFFFFF"/>
                </a:solidFill>
                <a:latin typeface="Georgia" panose="02040502050405020303" pitchFamily="18" charset="0"/>
                <a:cs typeface="Calibri" panose="020F0502020204030204" pitchFamily="34" charset="0"/>
              </a:rPr>
              <a:t>Das Kinderbildungsgesetz (</a:t>
            </a:r>
            <a:r>
              <a:rPr lang="de-DE" sz="1400" b="1" kern="0" spc="200" dirty="0" err="1">
                <a:solidFill>
                  <a:srgbClr val="FFFFFF"/>
                </a:solidFill>
                <a:latin typeface="Georgia" panose="02040502050405020303" pitchFamily="18" charset="0"/>
                <a:cs typeface="Calibri" panose="020F0502020204030204" pitchFamily="34" charset="0"/>
              </a:rPr>
              <a:t>KiBiz</a:t>
            </a:r>
            <a:r>
              <a:rPr lang="de-DE" sz="1400" b="1" kern="0" spc="200" dirty="0">
                <a:solidFill>
                  <a:srgbClr val="FFFFFF"/>
                </a:solidFill>
                <a:latin typeface="Georgia" panose="02040502050405020303" pitchFamily="18" charset="0"/>
                <a:cs typeface="Calibri" panose="020F0502020204030204" pitchFamily="34" charset="0"/>
              </a:rPr>
              <a:t>)</a:t>
            </a:r>
          </a:p>
        </p:txBody>
      </p:sp>
      <p:sp>
        <p:nvSpPr>
          <p:cNvPr id="60" name="Textfeld 59">
            <a:extLst>
              <a:ext uri="{FF2B5EF4-FFF2-40B4-BE49-F238E27FC236}">
                <a16:creationId xmlns:a16="http://schemas.microsoft.com/office/drawing/2014/main" id="{2FE56499-1A78-1849-8875-A04DEBDC8B3C}"/>
              </a:ext>
            </a:extLst>
          </p:cNvPr>
          <p:cNvSpPr txBox="1"/>
          <p:nvPr/>
        </p:nvSpPr>
        <p:spPr>
          <a:xfrm>
            <a:off x="8746747" y="1223070"/>
            <a:ext cx="3326469" cy="307777"/>
          </a:xfrm>
          <a:prstGeom prst="rect">
            <a:avLst/>
          </a:prstGeom>
          <a:noFill/>
        </p:spPr>
        <p:txBody>
          <a:bodyPr wrap="square" rtlCol="0">
            <a:spAutoFit/>
          </a:bodyPr>
          <a:lstStyle/>
          <a:p>
            <a:pPr lvl="0" algn="ctr" defTabSz="994766" fontAlgn="base">
              <a:spcBef>
                <a:spcPct val="0"/>
              </a:spcBef>
              <a:spcAft>
                <a:spcPct val="0"/>
              </a:spcAft>
              <a:buClr>
                <a:srgbClr val="404040">
                  <a:lumMod val="50000"/>
                </a:srgbClr>
              </a:buClr>
              <a:buSzPct val="75000"/>
            </a:pPr>
            <a:r>
              <a:rPr lang="de-DE" sz="1400" b="1" kern="0" spc="200" dirty="0">
                <a:solidFill>
                  <a:srgbClr val="FFFFFF"/>
                </a:solidFill>
                <a:latin typeface="Georgia" panose="02040502050405020303" pitchFamily="18" charset="0"/>
                <a:cs typeface="Calibri" panose="020F0502020204030204" pitchFamily="34" charset="0"/>
              </a:rPr>
              <a:t>Schulgesetz NRW  §1</a:t>
            </a:r>
          </a:p>
        </p:txBody>
      </p:sp>
    </p:spTree>
    <p:extLst>
      <p:ext uri="{BB962C8B-B14F-4D97-AF65-F5344CB8AC3E}">
        <p14:creationId xmlns:p14="http://schemas.microsoft.com/office/powerpoint/2010/main" val="9365913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112">
            <a:extLst>
              <a:ext uri="{FF2B5EF4-FFF2-40B4-BE49-F238E27FC236}">
                <a16:creationId xmlns:a16="http://schemas.microsoft.com/office/drawing/2014/main" id="{9B8B73EF-FB78-6D4B-B19D-83B12E0BB07B}"/>
              </a:ext>
            </a:extLst>
          </p:cNvPr>
          <p:cNvGrpSpPr/>
          <p:nvPr/>
        </p:nvGrpSpPr>
        <p:grpSpPr>
          <a:xfrm rot="2705957">
            <a:off x="3306013" y="1680269"/>
            <a:ext cx="4804004" cy="4795551"/>
            <a:chOff x="3002757" y="1211375"/>
            <a:chExt cx="2770188" cy="2765313"/>
          </a:xfrm>
        </p:grpSpPr>
        <p:sp>
          <p:nvSpPr>
            <p:cNvPr id="44" name="Freeform 155">
              <a:extLst>
                <a:ext uri="{FF2B5EF4-FFF2-40B4-BE49-F238E27FC236}">
                  <a16:creationId xmlns:a16="http://schemas.microsoft.com/office/drawing/2014/main" id="{291D7344-4B24-EF4B-91B1-6D708DC5A492}"/>
                </a:ext>
              </a:extLst>
            </p:cNvPr>
            <p:cNvSpPr>
              <a:spLocks/>
            </p:cNvSpPr>
            <p:nvPr/>
          </p:nvSpPr>
          <p:spPr bwMode="auto">
            <a:xfrm>
              <a:off x="4622007" y="2044700"/>
              <a:ext cx="1150938" cy="1150938"/>
            </a:xfrm>
            <a:custGeom>
              <a:avLst/>
              <a:gdLst>
                <a:gd name="T0" fmla="*/ 328 w 1143"/>
                <a:gd name="T1" fmla="*/ 487 h 1143"/>
                <a:gd name="T2" fmla="*/ 276 w 1143"/>
                <a:gd name="T3" fmla="*/ 363 h 1143"/>
                <a:gd name="T4" fmla="*/ 174 w 1143"/>
                <a:gd name="T5" fmla="*/ 398 h 1143"/>
                <a:gd name="T6" fmla="*/ 0 w 1143"/>
                <a:gd name="T7" fmla="*/ 572 h 1143"/>
                <a:gd name="T8" fmla="*/ 175 w 1143"/>
                <a:gd name="T9" fmla="*/ 746 h 1143"/>
                <a:gd name="T10" fmla="*/ 211 w 1143"/>
                <a:gd name="T11" fmla="*/ 849 h 1143"/>
                <a:gd name="T12" fmla="*/ 86 w 1143"/>
                <a:gd name="T13" fmla="*/ 900 h 1143"/>
                <a:gd name="T14" fmla="*/ 246 w 1143"/>
                <a:gd name="T15" fmla="*/ 1060 h 1143"/>
                <a:gd name="T16" fmla="*/ 298 w 1143"/>
                <a:gd name="T17" fmla="*/ 936 h 1143"/>
                <a:gd name="T18" fmla="*/ 400 w 1143"/>
                <a:gd name="T19" fmla="*/ 972 h 1143"/>
                <a:gd name="T20" fmla="*/ 572 w 1143"/>
                <a:gd name="T21" fmla="*/ 1143 h 1143"/>
                <a:gd name="T22" fmla="*/ 1143 w 1143"/>
                <a:gd name="T23" fmla="*/ 572 h 1143"/>
                <a:gd name="T24" fmla="*/ 959 w 1143"/>
                <a:gd name="T25" fmla="*/ 388 h 1143"/>
                <a:gd name="T26" fmla="*/ 916 w 1143"/>
                <a:gd name="T27" fmla="*/ 345 h 1143"/>
                <a:gd name="T28" fmla="*/ 759 w 1143"/>
                <a:gd name="T29" fmla="*/ 187 h 1143"/>
                <a:gd name="T30" fmla="*/ 746 w 1143"/>
                <a:gd name="T31" fmla="*/ 175 h 1143"/>
                <a:gd name="T32" fmla="*/ 572 w 1143"/>
                <a:gd name="T33" fmla="*/ 0 h 1143"/>
                <a:gd name="T34" fmla="*/ 572 w 1143"/>
                <a:gd name="T35" fmla="*/ 0 h 1143"/>
                <a:gd name="T36" fmla="*/ 398 w 1143"/>
                <a:gd name="T37" fmla="*/ 174 h 1143"/>
                <a:gd name="T38" fmla="*/ 378 w 1143"/>
                <a:gd name="T39" fmla="*/ 194 h 1143"/>
                <a:gd name="T40" fmla="*/ 379 w 1143"/>
                <a:gd name="T41" fmla="*/ 194 h 1143"/>
                <a:gd name="T42" fmla="*/ 363 w 1143"/>
                <a:gd name="T43" fmla="*/ 276 h 1143"/>
                <a:gd name="T44" fmla="*/ 488 w 1143"/>
                <a:gd name="T45" fmla="*/ 328 h 1143"/>
                <a:gd name="T46" fmla="*/ 328 w 1143"/>
                <a:gd name="T47" fmla="*/ 487 h 1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3" h="1143">
                  <a:moveTo>
                    <a:pt x="328" y="487"/>
                  </a:moveTo>
                  <a:cubicBezTo>
                    <a:pt x="272" y="446"/>
                    <a:pt x="296" y="413"/>
                    <a:pt x="276" y="363"/>
                  </a:cubicBezTo>
                  <a:cubicBezTo>
                    <a:pt x="266" y="336"/>
                    <a:pt x="236" y="336"/>
                    <a:pt x="174" y="398"/>
                  </a:cubicBezTo>
                  <a:cubicBezTo>
                    <a:pt x="0" y="572"/>
                    <a:pt x="0" y="572"/>
                    <a:pt x="0" y="572"/>
                  </a:cubicBezTo>
                  <a:cubicBezTo>
                    <a:pt x="175" y="746"/>
                    <a:pt x="175" y="746"/>
                    <a:pt x="175" y="746"/>
                  </a:cubicBezTo>
                  <a:cubicBezTo>
                    <a:pt x="238" y="809"/>
                    <a:pt x="237" y="839"/>
                    <a:pt x="211" y="849"/>
                  </a:cubicBezTo>
                  <a:cubicBezTo>
                    <a:pt x="160" y="868"/>
                    <a:pt x="127" y="844"/>
                    <a:pt x="86" y="900"/>
                  </a:cubicBezTo>
                  <a:cubicBezTo>
                    <a:pt x="16" y="997"/>
                    <a:pt x="150" y="1131"/>
                    <a:pt x="246" y="1060"/>
                  </a:cubicBezTo>
                  <a:cubicBezTo>
                    <a:pt x="303" y="1019"/>
                    <a:pt x="279" y="986"/>
                    <a:pt x="298" y="936"/>
                  </a:cubicBezTo>
                  <a:cubicBezTo>
                    <a:pt x="308" y="909"/>
                    <a:pt x="338" y="909"/>
                    <a:pt x="400" y="972"/>
                  </a:cubicBezTo>
                  <a:cubicBezTo>
                    <a:pt x="572" y="1143"/>
                    <a:pt x="572" y="1143"/>
                    <a:pt x="572" y="1143"/>
                  </a:cubicBezTo>
                  <a:cubicBezTo>
                    <a:pt x="1143" y="572"/>
                    <a:pt x="1143" y="572"/>
                    <a:pt x="1143" y="572"/>
                  </a:cubicBezTo>
                  <a:cubicBezTo>
                    <a:pt x="959" y="388"/>
                    <a:pt x="959" y="388"/>
                    <a:pt x="959" y="388"/>
                  </a:cubicBezTo>
                  <a:cubicBezTo>
                    <a:pt x="916" y="345"/>
                    <a:pt x="916" y="345"/>
                    <a:pt x="916" y="345"/>
                  </a:cubicBezTo>
                  <a:cubicBezTo>
                    <a:pt x="759" y="187"/>
                    <a:pt x="759" y="187"/>
                    <a:pt x="759" y="187"/>
                  </a:cubicBezTo>
                  <a:cubicBezTo>
                    <a:pt x="755" y="183"/>
                    <a:pt x="751" y="179"/>
                    <a:pt x="746" y="175"/>
                  </a:cubicBezTo>
                  <a:cubicBezTo>
                    <a:pt x="572" y="0"/>
                    <a:pt x="572" y="0"/>
                    <a:pt x="572" y="0"/>
                  </a:cubicBezTo>
                  <a:cubicBezTo>
                    <a:pt x="572" y="0"/>
                    <a:pt x="572" y="0"/>
                    <a:pt x="572" y="0"/>
                  </a:cubicBezTo>
                  <a:cubicBezTo>
                    <a:pt x="398" y="174"/>
                    <a:pt x="398" y="174"/>
                    <a:pt x="398" y="174"/>
                  </a:cubicBezTo>
                  <a:cubicBezTo>
                    <a:pt x="378" y="194"/>
                    <a:pt x="378" y="194"/>
                    <a:pt x="378" y="194"/>
                  </a:cubicBezTo>
                  <a:cubicBezTo>
                    <a:pt x="379" y="194"/>
                    <a:pt x="379" y="194"/>
                    <a:pt x="379" y="194"/>
                  </a:cubicBezTo>
                  <a:cubicBezTo>
                    <a:pt x="336" y="243"/>
                    <a:pt x="339" y="267"/>
                    <a:pt x="363" y="276"/>
                  </a:cubicBezTo>
                  <a:cubicBezTo>
                    <a:pt x="413" y="295"/>
                    <a:pt x="446" y="272"/>
                    <a:pt x="488" y="328"/>
                  </a:cubicBezTo>
                  <a:cubicBezTo>
                    <a:pt x="559" y="425"/>
                    <a:pt x="425" y="558"/>
                    <a:pt x="328" y="48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 name="Freeform 157">
              <a:extLst>
                <a:ext uri="{FF2B5EF4-FFF2-40B4-BE49-F238E27FC236}">
                  <a16:creationId xmlns:a16="http://schemas.microsoft.com/office/drawing/2014/main" id="{39CD3CAA-534A-144C-862A-39AD82E73404}"/>
                </a:ext>
              </a:extLst>
            </p:cNvPr>
            <p:cNvSpPr>
              <a:spLocks/>
            </p:cNvSpPr>
            <p:nvPr/>
          </p:nvSpPr>
          <p:spPr bwMode="auto">
            <a:xfrm>
              <a:off x="3851332" y="1211375"/>
              <a:ext cx="1071563" cy="1069975"/>
            </a:xfrm>
            <a:custGeom>
              <a:avLst/>
              <a:gdLst>
                <a:gd name="T0" fmla="*/ 378 w 1062"/>
                <a:gd name="T1" fmla="*/ 908 h 1062"/>
                <a:gd name="T2" fmla="*/ 335 w 1062"/>
                <a:gd name="T3" fmla="*/ 852 h 1062"/>
                <a:gd name="T4" fmla="*/ 372 w 1062"/>
                <a:gd name="T5" fmla="*/ 845 h 1062"/>
                <a:gd name="T6" fmla="*/ 470 w 1062"/>
                <a:gd name="T7" fmla="*/ 791 h 1062"/>
                <a:gd name="T8" fmla="*/ 451 w 1062"/>
                <a:gd name="T9" fmla="*/ 611 h 1062"/>
                <a:gd name="T10" fmla="*/ 271 w 1062"/>
                <a:gd name="T11" fmla="*/ 592 h 1062"/>
                <a:gd name="T12" fmla="*/ 217 w 1062"/>
                <a:gd name="T13" fmla="*/ 690 h 1062"/>
                <a:gd name="T14" fmla="*/ 210 w 1062"/>
                <a:gd name="T15" fmla="*/ 727 h 1062"/>
                <a:gd name="T16" fmla="*/ 173 w 1062"/>
                <a:gd name="T17" fmla="*/ 703 h 1062"/>
                <a:gd name="T18" fmla="*/ 164 w 1062"/>
                <a:gd name="T19" fmla="*/ 694 h 1062"/>
                <a:gd name="T20" fmla="*/ 0 w 1062"/>
                <a:gd name="T21" fmla="*/ 531 h 1062"/>
                <a:gd name="T22" fmla="*/ 155 w 1062"/>
                <a:gd name="T23" fmla="*/ 376 h 1062"/>
                <a:gd name="T24" fmla="*/ 167 w 1062"/>
                <a:gd name="T25" fmla="*/ 365 h 1062"/>
                <a:gd name="T26" fmla="*/ 167 w 1062"/>
                <a:gd name="T27" fmla="*/ 365 h 1062"/>
                <a:gd name="T28" fmla="*/ 532 w 1062"/>
                <a:gd name="T29" fmla="*/ 0 h 1062"/>
                <a:gd name="T30" fmla="*/ 1062 w 1062"/>
                <a:gd name="T31" fmla="*/ 531 h 1062"/>
                <a:gd name="T32" fmla="*/ 911 w 1062"/>
                <a:gd name="T33" fmla="*/ 682 h 1062"/>
                <a:gd name="T34" fmla="*/ 857 w 1062"/>
                <a:gd name="T35" fmla="*/ 753 h 1062"/>
                <a:gd name="T36" fmla="*/ 865 w 1062"/>
                <a:gd name="T37" fmla="*/ 819 h 1062"/>
                <a:gd name="T38" fmla="*/ 886 w 1062"/>
                <a:gd name="T39" fmla="*/ 832 h 1062"/>
                <a:gd name="T40" fmla="*/ 940 w 1062"/>
                <a:gd name="T41" fmla="*/ 843 h 1062"/>
                <a:gd name="T42" fmla="*/ 986 w 1062"/>
                <a:gd name="T43" fmla="*/ 860 h 1062"/>
                <a:gd name="T44" fmla="*/ 997 w 1062"/>
                <a:gd name="T45" fmla="*/ 873 h 1062"/>
                <a:gd name="T46" fmla="*/ 982 w 1062"/>
                <a:gd name="T47" fmla="*/ 979 h 1062"/>
                <a:gd name="T48" fmla="*/ 877 w 1062"/>
                <a:gd name="T49" fmla="*/ 993 h 1062"/>
                <a:gd name="T50" fmla="*/ 864 w 1062"/>
                <a:gd name="T51" fmla="*/ 982 h 1062"/>
                <a:gd name="T52" fmla="*/ 847 w 1062"/>
                <a:gd name="T53" fmla="*/ 936 h 1062"/>
                <a:gd name="T54" fmla="*/ 836 w 1062"/>
                <a:gd name="T55" fmla="*/ 882 h 1062"/>
                <a:gd name="T56" fmla="*/ 822 w 1062"/>
                <a:gd name="T57" fmla="*/ 861 h 1062"/>
                <a:gd name="T58" fmla="*/ 686 w 1062"/>
                <a:gd name="T59" fmla="*/ 907 h 1062"/>
                <a:gd name="T60" fmla="*/ 531 w 1062"/>
                <a:gd name="T61" fmla="*/ 1062 h 1062"/>
                <a:gd name="T62" fmla="*/ 378 w 1062"/>
                <a:gd name="T63" fmla="*/ 908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62" h="1062">
                  <a:moveTo>
                    <a:pt x="378" y="908"/>
                  </a:moveTo>
                  <a:cubicBezTo>
                    <a:pt x="346" y="876"/>
                    <a:pt x="337" y="859"/>
                    <a:pt x="335" y="852"/>
                  </a:cubicBezTo>
                  <a:cubicBezTo>
                    <a:pt x="348" y="848"/>
                    <a:pt x="360" y="847"/>
                    <a:pt x="372" y="845"/>
                  </a:cubicBezTo>
                  <a:cubicBezTo>
                    <a:pt x="402" y="842"/>
                    <a:pt x="436" y="839"/>
                    <a:pt x="470" y="791"/>
                  </a:cubicBezTo>
                  <a:cubicBezTo>
                    <a:pt x="510" y="737"/>
                    <a:pt x="502" y="663"/>
                    <a:pt x="451" y="611"/>
                  </a:cubicBezTo>
                  <a:cubicBezTo>
                    <a:pt x="399" y="560"/>
                    <a:pt x="326" y="552"/>
                    <a:pt x="271" y="592"/>
                  </a:cubicBezTo>
                  <a:cubicBezTo>
                    <a:pt x="223" y="627"/>
                    <a:pt x="220" y="660"/>
                    <a:pt x="217" y="690"/>
                  </a:cubicBezTo>
                  <a:cubicBezTo>
                    <a:pt x="216" y="703"/>
                    <a:pt x="215" y="715"/>
                    <a:pt x="210" y="727"/>
                  </a:cubicBezTo>
                  <a:cubicBezTo>
                    <a:pt x="205" y="726"/>
                    <a:pt x="193" y="720"/>
                    <a:pt x="173" y="703"/>
                  </a:cubicBezTo>
                  <a:cubicBezTo>
                    <a:pt x="164" y="694"/>
                    <a:pt x="164" y="694"/>
                    <a:pt x="164" y="694"/>
                  </a:cubicBezTo>
                  <a:cubicBezTo>
                    <a:pt x="0" y="531"/>
                    <a:pt x="0" y="531"/>
                    <a:pt x="0" y="531"/>
                  </a:cubicBezTo>
                  <a:cubicBezTo>
                    <a:pt x="155" y="376"/>
                    <a:pt x="155" y="376"/>
                    <a:pt x="155" y="376"/>
                  </a:cubicBezTo>
                  <a:cubicBezTo>
                    <a:pt x="159" y="372"/>
                    <a:pt x="163" y="369"/>
                    <a:pt x="167" y="365"/>
                  </a:cubicBezTo>
                  <a:cubicBezTo>
                    <a:pt x="167" y="365"/>
                    <a:pt x="167" y="365"/>
                    <a:pt x="167" y="365"/>
                  </a:cubicBezTo>
                  <a:cubicBezTo>
                    <a:pt x="532" y="0"/>
                    <a:pt x="532" y="0"/>
                    <a:pt x="532" y="0"/>
                  </a:cubicBezTo>
                  <a:cubicBezTo>
                    <a:pt x="1062" y="531"/>
                    <a:pt x="1062" y="531"/>
                    <a:pt x="1062" y="531"/>
                  </a:cubicBezTo>
                  <a:cubicBezTo>
                    <a:pt x="911" y="682"/>
                    <a:pt x="911" y="682"/>
                    <a:pt x="911" y="682"/>
                  </a:cubicBezTo>
                  <a:cubicBezTo>
                    <a:pt x="884" y="710"/>
                    <a:pt x="866" y="733"/>
                    <a:pt x="857" y="753"/>
                  </a:cubicBezTo>
                  <a:cubicBezTo>
                    <a:pt x="842" y="788"/>
                    <a:pt x="855" y="809"/>
                    <a:pt x="865" y="819"/>
                  </a:cubicBezTo>
                  <a:cubicBezTo>
                    <a:pt x="870" y="824"/>
                    <a:pt x="877" y="829"/>
                    <a:pt x="886" y="832"/>
                  </a:cubicBezTo>
                  <a:cubicBezTo>
                    <a:pt x="906" y="840"/>
                    <a:pt x="925" y="841"/>
                    <a:pt x="940" y="843"/>
                  </a:cubicBezTo>
                  <a:cubicBezTo>
                    <a:pt x="960" y="845"/>
                    <a:pt x="972" y="846"/>
                    <a:pt x="986" y="860"/>
                  </a:cubicBezTo>
                  <a:cubicBezTo>
                    <a:pt x="990" y="864"/>
                    <a:pt x="993" y="868"/>
                    <a:pt x="997" y="873"/>
                  </a:cubicBezTo>
                  <a:cubicBezTo>
                    <a:pt x="1025" y="912"/>
                    <a:pt x="1007" y="954"/>
                    <a:pt x="982" y="979"/>
                  </a:cubicBezTo>
                  <a:cubicBezTo>
                    <a:pt x="958" y="1003"/>
                    <a:pt x="916" y="1022"/>
                    <a:pt x="877" y="993"/>
                  </a:cubicBezTo>
                  <a:cubicBezTo>
                    <a:pt x="872" y="990"/>
                    <a:pt x="867" y="986"/>
                    <a:pt x="864" y="982"/>
                  </a:cubicBezTo>
                  <a:cubicBezTo>
                    <a:pt x="850" y="968"/>
                    <a:pt x="849" y="957"/>
                    <a:pt x="847" y="936"/>
                  </a:cubicBezTo>
                  <a:cubicBezTo>
                    <a:pt x="845" y="921"/>
                    <a:pt x="843" y="903"/>
                    <a:pt x="836" y="882"/>
                  </a:cubicBezTo>
                  <a:cubicBezTo>
                    <a:pt x="832" y="874"/>
                    <a:pt x="828" y="866"/>
                    <a:pt x="822" y="861"/>
                  </a:cubicBezTo>
                  <a:cubicBezTo>
                    <a:pt x="777" y="816"/>
                    <a:pt x="708" y="885"/>
                    <a:pt x="686" y="907"/>
                  </a:cubicBezTo>
                  <a:cubicBezTo>
                    <a:pt x="531" y="1062"/>
                    <a:pt x="531" y="1062"/>
                    <a:pt x="531" y="1062"/>
                  </a:cubicBezTo>
                  <a:lnTo>
                    <a:pt x="378" y="90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6" name="Freeform 159">
              <a:extLst>
                <a:ext uri="{FF2B5EF4-FFF2-40B4-BE49-F238E27FC236}">
                  <a16:creationId xmlns:a16="http://schemas.microsoft.com/office/drawing/2014/main" id="{7EE6E494-986B-734F-932C-0B6F8C9CEC10}"/>
                </a:ext>
              </a:extLst>
            </p:cNvPr>
            <p:cNvSpPr>
              <a:spLocks/>
            </p:cNvSpPr>
            <p:nvPr/>
          </p:nvSpPr>
          <p:spPr bwMode="auto">
            <a:xfrm>
              <a:off x="3002757" y="1990725"/>
              <a:ext cx="1150938" cy="1152525"/>
            </a:xfrm>
            <a:custGeom>
              <a:avLst/>
              <a:gdLst>
                <a:gd name="T0" fmla="*/ 814 w 1143"/>
                <a:gd name="T1" fmla="*/ 656 h 1143"/>
                <a:gd name="T2" fmla="*/ 866 w 1143"/>
                <a:gd name="T3" fmla="*/ 780 h 1143"/>
                <a:gd name="T4" fmla="*/ 969 w 1143"/>
                <a:gd name="T5" fmla="*/ 745 h 1143"/>
                <a:gd name="T6" fmla="*/ 1143 w 1143"/>
                <a:gd name="T7" fmla="*/ 572 h 1143"/>
                <a:gd name="T8" fmla="*/ 968 w 1143"/>
                <a:gd name="T9" fmla="*/ 397 h 1143"/>
                <a:gd name="T10" fmla="*/ 932 w 1143"/>
                <a:gd name="T11" fmla="*/ 294 h 1143"/>
                <a:gd name="T12" fmla="*/ 1057 w 1143"/>
                <a:gd name="T13" fmla="*/ 243 h 1143"/>
                <a:gd name="T14" fmla="*/ 896 w 1143"/>
                <a:gd name="T15" fmla="*/ 83 h 1143"/>
                <a:gd name="T16" fmla="*/ 845 w 1143"/>
                <a:gd name="T17" fmla="*/ 207 h 1143"/>
                <a:gd name="T18" fmla="*/ 743 w 1143"/>
                <a:gd name="T19" fmla="*/ 172 h 1143"/>
                <a:gd name="T20" fmla="*/ 571 w 1143"/>
                <a:gd name="T21" fmla="*/ 0 h 1143"/>
                <a:gd name="T22" fmla="*/ 0 w 1143"/>
                <a:gd name="T23" fmla="*/ 571 h 1143"/>
                <a:gd name="T24" fmla="*/ 184 w 1143"/>
                <a:gd name="T25" fmla="*/ 755 h 1143"/>
                <a:gd name="T26" fmla="*/ 227 w 1143"/>
                <a:gd name="T27" fmla="*/ 798 h 1143"/>
                <a:gd name="T28" fmla="*/ 384 w 1143"/>
                <a:gd name="T29" fmla="*/ 956 h 1143"/>
                <a:gd name="T30" fmla="*/ 396 w 1143"/>
                <a:gd name="T31" fmla="*/ 968 h 1143"/>
                <a:gd name="T32" fmla="*/ 571 w 1143"/>
                <a:gd name="T33" fmla="*/ 1143 h 1143"/>
                <a:gd name="T34" fmla="*/ 571 w 1143"/>
                <a:gd name="T35" fmla="*/ 1143 h 1143"/>
                <a:gd name="T36" fmla="*/ 745 w 1143"/>
                <a:gd name="T37" fmla="*/ 969 h 1143"/>
                <a:gd name="T38" fmla="*/ 765 w 1143"/>
                <a:gd name="T39" fmla="*/ 949 h 1143"/>
                <a:gd name="T40" fmla="*/ 764 w 1143"/>
                <a:gd name="T41" fmla="*/ 949 h 1143"/>
                <a:gd name="T42" fmla="*/ 780 w 1143"/>
                <a:gd name="T43" fmla="*/ 867 h 1143"/>
                <a:gd name="T44" fmla="*/ 655 w 1143"/>
                <a:gd name="T45" fmla="*/ 815 h 1143"/>
                <a:gd name="T46" fmla="*/ 814 w 1143"/>
                <a:gd name="T47" fmla="*/ 656 h 1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3" h="1143">
                  <a:moveTo>
                    <a:pt x="814" y="656"/>
                  </a:moveTo>
                  <a:cubicBezTo>
                    <a:pt x="871" y="697"/>
                    <a:pt x="847" y="730"/>
                    <a:pt x="866" y="780"/>
                  </a:cubicBezTo>
                  <a:cubicBezTo>
                    <a:pt x="877" y="807"/>
                    <a:pt x="907" y="808"/>
                    <a:pt x="969" y="745"/>
                  </a:cubicBezTo>
                  <a:cubicBezTo>
                    <a:pt x="1143" y="572"/>
                    <a:pt x="1143" y="572"/>
                    <a:pt x="1143" y="572"/>
                  </a:cubicBezTo>
                  <a:cubicBezTo>
                    <a:pt x="968" y="397"/>
                    <a:pt x="968" y="397"/>
                    <a:pt x="968" y="397"/>
                  </a:cubicBezTo>
                  <a:cubicBezTo>
                    <a:pt x="905" y="334"/>
                    <a:pt x="905" y="304"/>
                    <a:pt x="932" y="294"/>
                  </a:cubicBezTo>
                  <a:cubicBezTo>
                    <a:pt x="983" y="275"/>
                    <a:pt x="1016" y="299"/>
                    <a:pt x="1057" y="243"/>
                  </a:cubicBezTo>
                  <a:cubicBezTo>
                    <a:pt x="1127" y="146"/>
                    <a:pt x="993" y="12"/>
                    <a:pt x="896" y="83"/>
                  </a:cubicBezTo>
                  <a:cubicBezTo>
                    <a:pt x="840" y="124"/>
                    <a:pt x="864" y="157"/>
                    <a:pt x="845" y="207"/>
                  </a:cubicBezTo>
                  <a:cubicBezTo>
                    <a:pt x="835" y="234"/>
                    <a:pt x="805" y="234"/>
                    <a:pt x="743" y="172"/>
                  </a:cubicBezTo>
                  <a:cubicBezTo>
                    <a:pt x="571" y="0"/>
                    <a:pt x="571" y="0"/>
                    <a:pt x="571" y="0"/>
                  </a:cubicBezTo>
                  <a:cubicBezTo>
                    <a:pt x="0" y="571"/>
                    <a:pt x="0" y="571"/>
                    <a:pt x="0" y="571"/>
                  </a:cubicBezTo>
                  <a:cubicBezTo>
                    <a:pt x="184" y="755"/>
                    <a:pt x="184" y="755"/>
                    <a:pt x="184" y="755"/>
                  </a:cubicBezTo>
                  <a:cubicBezTo>
                    <a:pt x="227" y="798"/>
                    <a:pt x="227" y="798"/>
                    <a:pt x="227" y="798"/>
                  </a:cubicBezTo>
                  <a:cubicBezTo>
                    <a:pt x="384" y="956"/>
                    <a:pt x="384" y="956"/>
                    <a:pt x="384" y="956"/>
                  </a:cubicBezTo>
                  <a:cubicBezTo>
                    <a:pt x="388" y="960"/>
                    <a:pt x="392" y="964"/>
                    <a:pt x="396" y="968"/>
                  </a:cubicBezTo>
                  <a:cubicBezTo>
                    <a:pt x="571" y="1143"/>
                    <a:pt x="571" y="1143"/>
                    <a:pt x="571" y="1143"/>
                  </a:cubicBezTo>
                  <a:cubicBezTo>
                    <a:pt x="571" y="1143"/>
                    <a:pt x="571" y="1143"/>
                    <a:pt x="571" y="1143"/>
                  </a:cubicBezTo>
                  <a:cubicBezTo>
                    <a:pt x="745" y="969"/>
                    <a:pt x="745" y="969"/>
                    <a:pt x="745" y="969"/>
                  </a:cubicBezTo>
                  <a:cubicBezTo>
                    <a:pt x="765" y="949"/>
                    <a:pt x="765" y="949"/>
                    <a:pt x="765" y="949"/>
                  </a:cubicBezTo>
                  <a:cubicBezTo>
                    <a:pt x="764" y="949"/>
                    <a:pt x="764" y="949"/>
                    <a:pt x="764" y="949"/>
                  </a:cubicBezTo>
                  <a:cubicBezTo>
                    <a:pt x="807" y="900"/>
                    <a:pt x="804" y="876"/>
                    <a:pt x="780" y="867"/>
                  </a:cubicBezTo>
                  <a:cubicBezTo>
                    <a:pt x="729" y="848"/>
                    <a:pt x="697" y="872"/>
                    <a:pt x="655" y="815"/>
                  </a:cubicBezTo>
                  <a:cubicBezTo>
                    <a:pt x="584" y="718"/>
                    <a:pt x="717" y="585"/>
                    <a:pt x="814" y="656"/>
                  </a:cubicBezTo>
                  <a:close/>
                </a:path>
              </a:pathLst>
            </a:custGeom>
            <a:solidFill>
              <a:schemeClr val="accent3">
                <a:lumMod val="85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7" name="Freeform 161">
              <a:extLst>
                <a:ext uri="{FF2B5EF4-FFF2-40B4-BE49-F238E27FC236}">
                  <a16:creationId xmlns:a16="http://schemas.microsoft.com/office/drawing/2014/main" id="{F8C6B9DA-376E-394A-B292-CE407122F7EB}"/>
                </a:ext>
              </a:extLst>
            </p:cNvPr>
            <p:cNvSpPr>
              <a:spLocks/>
            </p:cNvSpPr>
            <p:nvPr/>
          </p:nvSpPr>
          <p:spPr bwMode="auto">
            <a:xfrm>
              <a:off x="3825082" y="2825750"/>
              <a:ext cx="1150938" cy="1150938"/>
            </a:xfrm>
            <a:custGeom>
              <a:avLst/>
              <a:gdLst>
                <a:gd name="T0" fmla="*/ 655 w 1143"/>
                <a:gd name="T1" fmla="*/ 328 h 1143"/>
                <a:gd name="T2" fmla="*/ 780 w 1143"/>
                <a:gd name="T3" fmla="*/ 276 h 1143"/>
                <a:gd name="T4" fmla="*/ 745 w 1143"/>
                <a:gd name="T5" fmla="*/ 174 h 1143"/>
                <a:gd name="T6" fmla="*/ 571 w 1143"/>
                <a:gd name="T7" fmla="*/ 0 h 1143"/>
                <a:gd name="T8" fmla="*/ 396 w 1143"/>
                <a:gd name="T9" fmla="*/ 175 h 1143"/>
                <a:gd name="T10" fmla="*/ 294 w 1143"/>
                <a:gd name="T11" fmla="*/ 211 h 1143"/>
                <a:gd name="T12" fmla="*/ 243 w 1143"/>
                <a:gd name="T13" fmla="*/ 86 h 1143"/>
                <a:gd name="T14" fmla="*/ 82 w 1143"/>
                <a:gd name="T15" fmla="*/ 247 h 1143"/>
                <a:gd name="T16" fmla="*/ 207 w 1143"/>
                <a:gd name="T17" fmla="*/ 298 h 1143"/>
                <a:gd name="T18" fmla="*/ 171 w 1143"/>
                <a:gd name="T19" fmla="*/ 400 h 1143"/>
                <a:gd name="T20" fmla="*/ 0 w 1143"/>
                <a:gd name="T21" fmla="*/ 572 h 1143"/>
                <a:gd name="T22" fmla="*/ 571 w 1143"/>
                <a:gd name="T23" fmla="*/ 1143 h 1143"/>
                <a:gd name="T24" fmla="*/ 755 w 1143"/>
                <a:gd name="T25" fmla="*/ 959 h 1143"/>
                <a:gd name="T26" fmla="*/ 798 w 1143"/>
                <a:gd name="T27" fmla="*/ 916 h 1143"/>
                <a:gd name="T28" fmla="*/ 955 w 1143"/>
                <a:gd name="T29" fmla="*/ 759 h 1143"/>
                <a:gd name="T30" fmla="*/ 968 w 1143"/>
                <a:gd name="T31" fmla="*/ 747 h 1143"/>
                <a:gd name="T32" fmla="*/ 1143 w 1143"/>
                <a:gd name="T33" fmla="*/ 572 h 1143"/>
                <a:gd name="T34" fmla="*/ 1143 w 1143"/>
                <a:gd name="T35" fmla="*/ 572 h 1143"/>
                <a:gd name="T36" fmla="*/ 969 w 1143"/>
                <a:gd name="T37" fmla="*/ 398 h 1143"/>
                <a:gd name="T38" fmla="*/ 949 w 1143"/>
                <a:gd name="T39" fmla="*/ 378 h 1143"/>
                <a:gd name="T40" fmla="*/ 948 w 1143"/>
                <a:gd name="T41" fmla="*/ 379 h 1143"/>
                <a:gd name="T42" fmla="*/ 867 w 1143"/>
                <a:gd name="T43" fmla="*/ 363 h 1143"/>
                <a:gd name="T44" fmla="*/ 815 w 1143"/>
                <a:gd name="T45" fmla="*/ 488 h 1143"/>
                <a:gd name="T46" fmla="*/ 655 w 1143"/>
                <a:gd name="T47" fmla="*/ 328 h 1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3" h="1143">
                  <a:moveTo>
                    <a:pt x="655" y="328"/>
                  </a:moveTo>
                  <a:cubicBezTo>
                    <a:pt x="697" y="272"/>
                    <a:pt x="730" y="296"/>
                    <a:pt x="780" y="276"/>
                  </a:cubicBezTo>
                  <a:cubicBezTo>
                    <a:pt x="807" y="266"/>
                    <a:pt x="807" y="236"/>
                    <a:pt x="745" y="174"/>
                  </a:cubicBezTo>
                  <a:cubicBezTo>
                    <a:pt x="571" y="0"/>
                    <a:pt x="571" y="0"/>
                    <a:pt x="571" y="0"/>
                  </a:cubicBezTo>
                  <a:cubicBezTo>
                    <a:pt x="396" y="175"/>
                    <a:pt x="396" y="175"/>
                    <a:pt x="396" y="175"/>
                  </a:cubicBezTo>
                  <a:cubicBezTo>
                    <a:pt x="334" y="238"/>
                    <a:pt x="304" y="237"/>
                    <a:pt x="294" y="211"/>
                  </a:cubicBezTo>
                  <a:cubicBezTo>
                    <a:pt x="275" y="160"/>
                    <a:pt x="299" y="127"/>
                    <a:pt x="243" y="86"/>
                  </a:cubicBezTo>
                  <a:cubicBezTo>
                    <a:pt x="146" y="16"/>
                    <a:pt x="12" y="150"/>
                    <a:pt x="82" y="247"/>
                  </a:cubicBezTo>
                  <a:cubicBezTo>
                    <a:pt x="123" y="303"/>
                    <a:pt x="156" y="279"/>
                    <a:pt x="207" y="298"/>
                  </a:cubicBezTo>
                  <a:cubicBezTo>
                    <a:pt x="234" y="308"/>
                    <a:pt x="234" y="338"/>
                    <a:pt x="171" y="400"/>
                  </a:cubicBezTo>
                  <a:cubicBezTo>
                    <a:pt x="0" y="572"/>
                    <a:pt x="0" y="572"/>
                    <a:pt x="0" y="572"/>
                  </a:cubicBezTo>
                  <a:cubicBezTo>
                    <a:pt x="571" y="1143"/>
                    <a:pt x="571" y="1143"/>
                    <a:pt x="571" y="1143"/>
                  </a:cubicBezTo>
                  <a:cubicBezTo>
                    <a:pt x="755" y="959"/>
                    <a:pt x="755" y="959"/>
                    <a:pt x="755" y="959"/>
                  </a:cubicBezTo>
                  <a:cubicBezTo>
                    <a:pt x="798" y="916"/>
                    <a:pt x="798" y="916"/>
                    <a:pt x="798" y="916"/>
                  </a:cubicBezTo>
                  <a:cubicBezTo>
                    <a:pt x="955" y="759"/>
                    <a:pt x="955" y="759"/>
                    <a:pt x="955" y="759"/>
                  </a:cubicBezTo>
                  <a:cubicBezTo>
                    <a:pt x="959" y="755"/>
                    <a:pt x="964" y="751"/>
                    <a:pt x="968" y="747"/>
                  </a:cubicBezTo>
                  <a:cubicBezTo>
                    <a:pt x="1143" y="572"/>
                    <a:pt x="1143" y="572"/>
                    <a:pt x="1143" y="572"/>
                  </a:cubicBezTo>
                  <a:cubicBezTo>
                    <a:pt x="1143" y="572"/>
                    <a:pt x="1143" y="572"/>
                    <a:pt x="1143" y="572"/>
                  </a:cubicBezTo>
                  <a:cubicBezTo>
                    <a:pt x="969" y="398"/>
                    <a:pt x="969" y="398"/>
                    <a:pt x="969" y="398"/>
                  </a:cubicBezTo>
                  <a:cubicBezTo>
                    <a:pt x="949" y="378"/>
                    <a:pt x="949" y="378"/>
                    <a:pt x="949" y="378"/>
                  </a:cubicBezTo>
                  <a:cubicBezTo>
                    <a:pt x="948" y="379"/>
                    <a:pt x="948" y="379"/>
                    <a:pt x="948" y="379"/>
                  </a:cubicBezTo>
                  <a:cubicBezTo>
                    <a:pt x="900" y="336"/>
                    <a:pt x="876" y="339"/>
                    <a:pt x="867" y="363"/>
                  </a:cubicBezTo>
                  <a:cubicBezTo>
                    <a:pt x="847" y="413"/>
                    <a:pt x="871" y="446"/>
                    <a:pt x="815" y="488"/>
                  </a:cubicBezTo>
                  <a:cubicBezTo>
                    <a:pt x="718" y="559"/>
                    <a:pt x="584" y="425"/>
                    <a:pt x="655" y="3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pic>
        <p:nvPicPr>
          <p:cNvPr id="54" name="Grafik 53">
            <a:extLst>
              <a:ext uri="{FF2B5EF4-FFF2-40B4-BE49-F238E27FC236}">
                <a16:creationId xmlns:a16="http://schemas.microsoft.com/office/drawing/2014/main" id="{F8E01B9D-5B0D-ED48-93FD-8B9F129C122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179"/>
          <a:stretch/>
        </p:blipFill>
        <p:spPr>
          <a:xfrm>
            <a:off x="-23924" y="220711"/>
            <a:ext cx="12384090" cy="1452195"/>
          </a:xfrm>
          <a:prstGeom prst="rect">
            <a:avLst/>
          </a:prstGeom>
        </p:spPr>
      </p:pic>
      <p:sp>
        <p:nvSpPr>
          <p:cNvPr id="53" name="Rectangle 21">
            <a:extLst>
              <a:ext uri="{FF2B5EF4-FFF2-40B4-BE49-F238E27FC236}">
                <a16:creationId xmlns:a16="http://schemas.microsoft.com/office/drawing/2014/main" id="{66D3B711-11C4-0A42-9372-FA79243F9672}"/>
              </a:ext>
            </a:extLst>
          </p:cNvPr>
          <p:cNvSpPr/>
          <p:nvPr/>
        </p:nvSpPr>
        <p:spPr bwMode="auto">
          <a:xfrm>
            <a:off x="-23925" y="209637"/>
            <a:ext cx="12239849" cy="1452196"/>
          </a:xfrm>
          <a:prstGeom prst="rect">
            <a:avLst/>
          </a:prstGeom>
          <a:solidFill>
            <a:schemeClr val="tx2">
              <a:lumMod val="60000"/>
              <a:lumOff val="40000"/>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2" name="Titel 1">
            <a:extLst>
              <a:ext uri="{FF2B5EF4-FFF2-40B4-BE49-F238E27FC236}">
                <a16:creationId xmlns:a16="http://schemas.microsoft.com/office/drawing/2014/main" id="{8DBD732E-255D-5641-835F-7822FEFB1A84}"/>
              </a:ext>
            </a:extLst>
          </p:cNvPr>
          <p:cNvSpPr>
            <a:spLocks noGrp="1"/>
          </p:cNvSpPr>
          <p:nvPr>
            <p:ph type="title"/>
          </p:nvPr>
        </p:nvSpPr>
        <p:spPr>
          <a:xfrm>
            <a:off x="373172" y="771272"/>
            <a:ext cx="11445656" cy="797082"/>
          </a:xfrm>
        </p:spPr>
        <p:txBody>
          <a:bodyPr/>
          <a:lstStyle/>
          <a:p>
            <a:r>
              <a:rPr lang="de-DE" dirty="0">
                <a:solidFill>
                  <a:schemeClr val="bg1"/>
                </a:solidFill>
                <a:latin typeface="Tahoma" panose="020B0604030504040204" pitchFamily="34" charset="0"/>
                <a:ea typeface="Tahoma" panose="020B0604030504040204" pitchFamily="34" charset="0"/>
                <a:cs typeface="Tahoma" panose="020B0604030504040204" pitchFamily="34" charset="0"/>
              </a:rPr>
              <a:t>Vorschulische Fördermöglichkeiten</a:t>
            </a:r>
          </a:p>
        </p:txBody>
      </p:sp>
      <p:sp>
        <p:nvSpPr>
          <p:cNvPr id="3" name="Textplatzhalter 2">
            <a:extLst>
              <a:ext uri="{FF2B5EF4-FFF2-40B4-BE49-F238E27FC236}">
                <a16:creationId xmlns:a16="http://schemas.microsoft.com/office/drawing/2014/main" id="{372F9084-4CAF-5A4B-B2B8-887F658B4A98}"/>
              </a:ext>
            </a:extLst>
          </p:cNvPr>
          <p:cNvSpPr>
            <a:spLocks noGrp="1"/>
          </p:cNvSpPr>
          <p:nvPr>
            <p:ph type="body" sz="quarter" idx="10"/>
          </p:nvPr>
        </p:nvSpPr>
        <p:spPr>
          <a:xfrm>
            <a:off x="373172" y="369140"/>
            <a:ext cx="5334843" cy="314948"/>
          </a:xfrm>
        </p:spPr>
        <p:txBody>
          <a:bodyPr/>
          <a:lstStyle/>
          <a:p>
            <a:r>
              <a:rPr lang="de-DE" dirty="0">
                <a:solidFill>
                  <a:schemeClr val="bg1"/>
                </a:solidFill>
              </a:rPr>
              <a:t>VORSCHULE</a:t>
            </a:r>
          </a:p>
        </p:txBody>
      </p:sp>
      <p:cxnSp>
        <p:nvCxnSpPr>
          <p:cNvPr id="52" name="Straight Connector 84">
            <a:extLst>
              <a:ext uri="{FF2B5EF4-FFF2-40B4-BE49-F238E27FC236}">
                <a16:creationId xmlns:a16="http://schemas.microsoft.com/office/drawing/2014/main" id="{A8517F63-8A29-FF49-8B0F-A151123DCFBD}"/>
              </a:ext>
            </a:extLst>
          </p:cNvPr>
          <p:cNvCxnSpPr>
            <a:cxnSpLocks/>
          </p:cNvCxnSpPr>
          <p:nvPr/>
        </p:nvCxnSpPr>
        <p:spPr>
          <a:xfrm>
            <a:off x="3353395" y="2546648"/>
            <a:ext cx="657390" cy="503694"/>
          </a:xfrm>
          <a:prstGeom prst="line">
            <a:avLst/>
          </a:prstGeom>
          <a:ln w="15875">
            <a:solidFill>
              <a:schemeClr val="bg1">
                <a:lumMod val="75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55" name="Straight Connector 84">
            <a:extLst>
              <a:ext uri="{FF2B5EF4-FFF2-40B4-BE49-F238E27FC236}">
                <a16:creationId xmlns:a16="http://schemas.microsoft.com/office/drawing/2014/main" id="{24AB7111-DAE5-444B-B132-17F7B427EA23}"/>
              </a:ext>
            </a:extLst>
          </p:cNvPr>
          <p:cNvCxnSpPr>
            <a:cxnSpLocks/>
          </p:cNvCxnSpPr>
          <p:nvPr/>
        </p:nvCxnSpPr>
        <p:spPr>
          <a:xfrm flipV="1">
            <a:off x="7404004" y="2546724"/>
            <a:ext cx="657390" cy="503694"/>
          </a:xfrm>
          <a:prstGeom prst="line">
            <a:avLst/>
          </a:prstGeom>
          <a:ln w="15875">
            <a:solidFill>
              <a:schemeClr val="bg1">
                <a:lumMod val="75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56" name="Straight Connector 84">
            <a:extLst>
              <a:ext uri="{FF2B5EF4-FFF2-40B4-BE49-F238E27FC236}">
                <a16:creationId xmlns:a16="http://schemas.microsoft.com/office/drawing/2014/main" id="{0E988DE1-4B50-374E-A1B1-FA9B83C4BC17}"/>
              </a:ext>
            </a:extLst>
          </p:cNvPr>
          <p:cNvCxnSpPr>
            <a:cxnSpLocks/>
          </p:cNvCxnSpPr>
          <p:nvPr/>
        </p:nvCxnSpPr>
        <p:spPr>
          <a:xfrm>
            <a:off x="3353395" y="4733771"/>
            <a:ext cx="657390" cy="503694"/>
          </a:xfrm>
          <a:prstGeom prst="line">
            <a:avLst/>
          </a:prstGeom>
          <a:ln w="15875">
            <a:solidFill>
              <a:schemeClr val="bg1">
                <a:lumMod val="75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57" name="Straight Connector 84">
            <a:extLst>
              <a:ext uri="{FF2B5EF4-FFF2-40B4-BE49-F238E27FC236}">
                <a16:creationId xmlns:a16="http://schemas.microsoft.com/office/drawing/2014/main" id="{A9656B68-23FD-7F4D-B4B7-EA49D10868FF}"/>
              </a:ext>
            </a:extLst>
          </p:cNvPr>
          <p:cNvCxnSpPr>
            <a:cxnSpLocks/>
          </p:cNvCxnSpPr>
          <p:nvPr/>
        </p:nvCxnSpPr>
        <p:spPr>
          <a:xfrm flipV="1">
            <a:off x="7381781" y="4733771"/>
            <a:ext cx="657390" cy="503694"/>
          </a:xfrm>
          <a:prstGeom prst="line">
            <a:avLst/>
          </a:prstGeom>
          <a:ln w="15875">
            <a:solidFill>
              <a:schemeClr val="bg1">
                <a:lumMod val="75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14" name="Oval 13">
            <a:extLst>
              <a:ext uri="{FF2B5EF4-FFF2-40B4-BE49-F238E27FC236}">
                <a16:creationId xmlns:a16="http://schemas.microsoft.com/office/drawing/2014/main" id="{8034C127-166F-2E49-9780-6F5907CB6959}"/>
              </a:ext>
            </a:extLst>
          </p:cNvPr>
          <p:cNvSpPr/>
          <p:nvPr/>
        </p:nvSpPr>
        <p:spPr>
          <a:xfrm>
            <a:off x="334207" y="2039568"/>
            <a:ext cx="2992670" cy="859855"/>
          </a:xfrm>
          <a:prstGeom prst="ellipse">
            <a:avLst/>
          </a:prstGeom>
          <a:solidFill>
            <a:schemeClr val="tx2">
              <a:alpha val="7288"/>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2" name="Oval 61">
            <a:extLst>
              <a:ext uri="{FF2B5EF4-FFF2-40B4-BE49-F238E27FC236}">
                <a16:creationId xmlns:a16="http://schemas.microsoft.com/office/drawing/2014/main" id="{83F589D8-F122-4F43-AB3A-69B2184B1507}"/>
              </a:ext>
            </a:extLst>
          </p:cNvPr>
          <p:cNvSpPr/>
          <p:nvPr/>
        </p:nvSpPr>
        <p:spPr>
          <a:xfrm>
            <a:off x="8066090" y="4343348"/>
            <a:ext cx="2992670" cy="859855"/>
          </a:xfrm>
          <a:prstGeom prst="ellipse">
            <a:avLst/>
          </a:prstGeom>
          <a:solidFill>
            <a:schemeClr val="tx2">
              <a:alpha val="7288"/>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Oval 62">
            <a:extLst>
              <a:ext uri="{FF2B5EF4-FFF2-40B4-BE49-F238E27FC236}">
                <a16:creationId xmlns:a16="http://schemas.microsoft.com/office/drawing/2014/main" id="{2070D6F3-4CD0-844C-8EBC-ED48512866AB}"/>
              </a:ext>
            </a:extLst>
          </p:cNvPr>
          <p:cNvSpPr/>
          <p:nvPr/>
        </p:nvSpPr>
        <p:spPr>
          <a:xfrm>
            <a:off x="8066090" y="2039568"/>
            <a:ext cx="2992670" cy="859855"/>
          </a:xfrm>
          <a:prstGeom prst="ellipse">
            <a:avLst/>
          </a:prstGeom>
          <a:solidFill>
            <a:schemeClr val="tx2">
              <a:alpha val="7288"/>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Oval 63">
            <a:extLst>
              <a:ext uri="{FF2B5EF4-FFF2-40B4-BE49-F238E27FC236}">
                <a16:creationId xmlns:a16="http://schemas.microsoft.com/office/drawing/2014/main" id="{61B023DE-C6CD-3C4B-AD95-6F81D7FB6719}"/>
              </a:ext>
            </a:extLst>
          </p:cNvPr>
          <p:cNvSpPr/>
          <p:nvPr/>
        </p:nvSpPr>
        <p:spPr>
          <a:xfrm>
            <a:off x="334207" y="4343348"/>
            <a:ext cx="2992670" cy="859855"/>
          </a:xfrm>
          <a:prstGeom prst="ellipse">
            <a:avLst/>
          </a:prstGeom>
          <a:solidFill>
            <a:schemeClr val="tx2">
              <a:alpha val="7288"/>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a:extLst>
              <a:ext uri="{FF2B5EF4-FFF2-40B4-BE49-F238E27FC236}">
                <a16:creationId xmlns:a16="http://schemas.microsoft.com/office/drawing/2014/main" id="{5FA1056F-3E3F-6140-AD00-39844C48F2C2}"/>
              </a:ext>
            </a:extLst>
          </p:cNvPr>
          <p:cNvSpPr txBox="1"/>
          <p:nvPr/>
        </p:nvSpPr>
        <p:spPr>
          <a:xfrm>
            <a:off x="1207341" y="2241296"/>
            <a:ext cx="1240221" cy="369332"/>
          </a:xfrm>
          <a:prstGeom prst="rect">
            <a:avLst/>
          </a:prstGeom>
          <a:noFill/>
        </p:spPr>
        <p:txBody>
          <a:bodyPr wrap="square" rtlCol="0">
            <a:spAutoFit/>
          </a:bodyPr>
          <a:lstStyle/>
          <a:p>
            <a:r>
              <a:rPr lang="de-DE"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Logopädie</a:t>
            </a:r>
          </a:p>
        </p:txBody>
      </p:sp>
      <p:sp>
        <p:nvSpPr>
          <p:cNvPr id="66" name="Textfeld 65">
            <a:extLst>
              <a:ext uri="{FF2B5EF4-FFF2-40B4-BE49-F238E27FC236}">
                <a16:creationId xmlns:a16="http://schemas.microsoft.com/office/drawing/2014/main" id="{8430F8B2-C441-DE4D-8B80-85DC304E3960}"/>
              </a:ext>
            </a:extLst>
          </p:cNvPr>
          <p:cNvSpPr txBox="1"/>
          <p:nvPr/>
        </p:nvSpPr>
        <p:spPr>
          <a:xfrm>
            <a:off x="8485616" y="4496967"/>
            <a:ext cx="2992670" cy="584775"/>
          </a:xfrm>
          <a:prstGeom prst="rect">
            <a:avLst/>
          </a:prstGeom>
          <a:noFill/>
        </p:spPr>
        <p:txBody>
          <a:bodyPr wrap="square" rtlCol="0">
            <a:spAutoFit/>
          </a:bodyPr>
          <a:lstStyle/>
          <a:p>
            <a:r>
              <a:rPr lang="de-DE" sz="1600"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SPZ (</a:t>
            </a:r>
            <a:r>
              <a:rPr lang="de-DE" sz="1600" b="1"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S</a:t>
            </a:r>
            <a:r>
              <a:rPr lang="de-DE" sz="1600"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ozial</a:t>
            </a:r>
            <a:r>
              <a:rPr lang="de-DE" sz="1600" b="1"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p</a:t>
            </a:r>
            <a:r>
              <a:rPr lang="de-DE" sz="1600"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ädiatrisches </a:t>
            </a:r>
            <a:r>
              <a:rPr lang="de-DE" sz="1600" b="1"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Z</a:t>
            </a:r>
            <a:r>
              <a:rPr lang="de-DE" sz="1600"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entrum)</a:t>
            </a:r>
          </a:p>
        </p:txBody>
      </p:sp>
      <p:sp>
        <p:nvSpPr>
          <p:cNvPr id="67" name="Textfeld 66">
            <a:extLst>
              <a:ext uri="{FF2B5EF4-FFF2-40B4-BE49-F238E27FC236}">
                <a16:creationId xmlns:a16="http://schemas.microsoft.com/office/drawing/2014/main" id="{8CFD5F53-E216-8B42-99D0-831BF850A754}"/>
              </a:ext>
            </a:extLst>
          </p:cNvPr>
          <p:cNvSpPr txBox="1"/>
          <p:nvPr/>
        </p:nvSpPr>
        <p:spPr>
          <a:xfrm>
            <a:off x="8589367" y="2251704"/>
            <a:ext cx="1946116" cy="369332"/>
          </a:xfrm>
          <a:prstGeom prst="rect">
            <a:avLst/>
          </a:prstGeom>
          <a:noFill/>
        </p:spPr>
        <p:txBody>
          <a:bodyPr wrap="square" rtlCol="0">
            <a:spAutoFit/>
          </a:bodyPr>
          <a:lstStyle/>
          <a:p>
            <a:r>
              <a:rPr lang="de-DE"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Frühförderstellen</a:t>
            </a:r>
          </a:p>
        </p:txBody>
      </p:sp>
      <p:sp>
        <p:nvSpPr>
          <p:cNvPr id="68" name="Textfeld 67">
            <a:extLst>
              <a:ext uri="{FF2B5EF4-FFF2-40B4-BE49-F238E27FC236}">
                <a16:creationId xmlns:a16="http://schemas.microsoft.com/office/drawing/2014/main" id="{3D32AAA3-8084-1949-8644-715E40EE6E8E}"/>
              </a:ext>
            </a:extLst>
          </p:cNvPr>
          <p:cNvSpPr txBox="1"/>
          <p:nvPr/>
        </p:nvSpPr>
        <p:spPr>
          <a:xfrm>
            <a:off x="1063011" y="4549105"/>
            <a:ext cx="1528883" cy="369332"/>
          </a:xfrm>
          <a:prstGeom prst="rect">
            <a:avLst/>
          </a:prstGeom>
          <a:noFill/>
        </p:spPr>
        <p:txBody>
          <a:bodyPr wrap="square" rtlCol="0">
            <a:spAutoFit/>
          </a:bodyPr>
          <a:lstStyle/>
          <a:p>
            <a:r>
              <a:rPr lang="de-DE"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Ergotherapie</a:t>
            </a:r>
          </a:p>
        </p:txBody>
      </p:sp>
      <p:sp>
        <p:nvSpPr>
          <p:cNvPr id="69" name="Freeform 504">
            <a:extLst>
              <a:ext uri="{FF2B5EF4-FFF2-40B4-BE49-F238E27FC236}">
                <a16:creationId xmlns:a16="http://schemas.microsoft.com/office/drawing/2014/main" id="{257307B6-8610-4246-B65B-3AC86BF7DD8D}"/>
              </a:ext>
            </a:extLst>
          </p:cNvPr>
          <p:cNvSpPr>
            <a:spLocks noEditPoints="1"/>
          </p:cNvSpPr>
          <p:nvPr/>
        </p:nvSpPr>
        <p:spPr bwMode="auto">
          <a:xfrm>
            <a:off x="6397548" y="4995326"/>
            <a:ext cx="564707" cy="503694"/>
          </a:xfrm>
          <a:custGeom>
            <a:avLst/>
            <a:gdLst>
              <a:gd name="T0" fmla="*/ 85 w 186"/>
              <a:gd name="T1" fmla="*/ 93 h 185"/>
              <a:gd name="T2" fmla="*/ 101 w 186"/>
              <a:gd name="T3" fmla="*/ 93 h 185"/>
              <a:gd name="T4" fmla="*/ 186 w 186"/>
              <a:gd name="T5" fmla="*/ 93 h 185"/>
              <a:gd name="T6" fmla="*/ 159 w 186"/>
              <a:gd name="T7" fmla="*/ 27 h 185"/>
              <a:gd name="T8" fmla="*/ 93 w 186"/>
              <a:gd name="T9" fmla="*/ 0 h 185"/>
              <a:gd name="T10" fmla="*/ 27 w 186"/>
              <a:gd name="T11" fmla="*/ 27 h 185"/>
              <a:gd name="T12" fmla="*/ 0 w 186"/>
              <a:gd name="T13" fmla="*/ 93 h 185"/>
              <a:gd name="T14" fmla="*/ 27 w 186"/>
              <a:gd name="T15" fmla="*/ 158 h 185"/>
              <a:gd name="T16" fmla="*/ 93 w 186"/>
              <a:gd name="T17" fmla="*/ 185 h 185"/>
              <a:gd name="T18" fmla="*/ 159 w 186"/>
              <a:gd name="T19" fmla="*/ 158 h 185"/>
              <a:gd name="T20" fmla="*/ 186 w 186"/>
              <a:gd name="T21" fmla="*/ 93 h 185"/>
              <a:gd name="T22" fmla="*/ 36 w 186"/>
              <a:gd name="T23" fmla="*/ 74 h 185"/>
              <a:gd name="T24" fmla="*/ 36 w 186"/>
              <a:gd name="T25" fmla="*/ 111 h 185"/>
              <a:gd name="T26" fmla="*/ 60 w 186"/>
              <a:gd name="T27" fmla="*/ 79 h 185"/>
              <a:gd name="T28" fmla="*/ 44 w 186"/>
              <a:gd name="T29" fmla="*/ 72 h 185"/>
              <a:gd name="T30" fmla="*/ 60 w 186"/>
              <a:gd name="T31" fmla="*/ 79 h 185"/>
              <a:gd name="T32" fmla="*/ 44 w 186"/>
              <a:gd name="T33" fmla="*/ 113 h 185"/>
              <a:gd name="T34" fmla="*/ 60 w 186"/>
              <a:gd name="T35" fmla="*/ 107 h 185"/>
              <a:gd name="T36" fmla="*/ 33 w 186"/>
              <a:gd name="T37" fmla="*/ 152 h 185"/>
              <a:gd name="T38" fmla="*/ 61 w 186"/>
              <a:gd name="T39" fmla="*/ 124 h 185"/>
              <a:gd name="T40" fmla="*/ 33 w 186"/>
              <a:gd name="T41" fmla="*/ 152 h 185"/>
              <a:gd name="T42" fmla="*/ 39 w 186"/>
              <a:gd name="T43" fmla="*/ 65 h 185"/>
              <a:gd name="T44" fmla="*/ 66 w 186"/>
              <a:gd name="T45" fmla="*/ 39 h 185"/>
              <a:gd name="T46" fmla="*/ 116 w 186"/>
              <a:gd name="T47" fmla="*/ 60 h 185"/>
              <a:gd name="T48" fmla="*/ 100 w 186"/>
              <a:gd name="T49" fmla="*/ 53 h 185"/>
              <a:gd name="T50" fmla="*/ 116 w 186"/>
              <a:gd name="T51" fmla="*/ 60 h 185"/>
              <a:gd name="T52" fmla="*/ 112 w 186"/>
              <a:gd name="T53" fmla="*/ 35 h 185"/>
              <a:gd name="T54" fmla="*/ 74 w 186"/>
              <a:gd name="T55" fmla="*/ 35 h 185"/>
              <a:gd name="T56" fmla="*/ 73 w 186"/>
              <a:gd name="T57" fmla="*/ 43 h 185"/>
              <a:gd name="T58" fmla="*/ 79 w 186"/>
              <a:gd name="T59" fmla="*/ 59 h 185"/>
              <a:gd name="T60" fmla="*/ 73 w 186"/>
              <a:gd name="T61" fmla="*/ 43 h 185"/>
              <a:gd name="T62" fmla="*/ 79 w 186"/>
              <a:gd name="T63" fmla="*/ 126 h 185"/>
              <a:gd name="T64" fmla="*/ 73 w 186"/>
              <a:gd name="T65" fmla="*/ 142 h 185"/>
              <a:gd name="T66" fmla="*/ 93 w 186"/>
              <a:gd name="T67" fmla="*/ 177 h 185"/>
              <a:gd name="T68" fmla="*/ 93 w 186"/>
              <a:gd name="T69" fmla="*/ 137 h 185"/>
              <a:gd name="T70" fmla="*/ 93 w 186"/>
              <a:gd name="T71" fmla="*/ 177 h 185"/>
              <a:gd name="T72" fmla="*/ 100 w 186"/>
              <a:gd name="T73" fmla="*/ 132 h 185"/>
              <a:gd name="T74" fmla="*/ 116 w 186"/>
              <a:gd name="T75" fmla="*/ 125 h 185"/>
              <a:gd name="T76" fmla="*/ 118 w 186"/>
              <a:gd name="T77" fmla="*/ 103 h 185"/>
              <a:gd name="T78" fmla="*/ 103 w 186"/>
              <a:gd name="T79" fmla="*/ 118 h 185"/>
              <a:gd name="T80" fmla="*/ 83 w 186"/>
              <a:gd name="T81" fmla="*/ 118 h 185"/>
              <a:gd name="T82" fmla="*/ 68 w 186"/>
              <a:gd name="T83" fmla="*/ 103 h 185"/>
              <a:gd name="T84" fmla="*/ 68 w 186"/>
              <a:gd name="T85" fmla="*/ 82 h 185"/>
              <a:gd name="T86" fmla="*/ 83 w 186"/>
              <a:gd name="T87" fmla="*/ 68 h 185"/>
              <a:gd name="T88" fmla="*/ 103 w 186"/>
              <a:gd name="T89" fmla="*/ 68 h 185"/>
              <a:gd name="T90" fmla="*/ 118 w 186"/>
              <a:gd name="T91" fmla="*/ 82 h 185"/>
              <a:gd name="T92" fmla="*/ 118 w 186"/>
              <a:gd name="T93" fmla="*/ 103 h 185"/>
              <a:gd name="T94" fmla="*/ 147 w 186"/>
              <a:gd name="T95" fmla="*/ 65 h 185"/>
              <a:gd name="T96" fmla="*/ 120 w 186"/>
              <a:gd name="T97" fmla="*/ 39 h 185"/>
              <a:gd name="T98" fmla="*/ 133 w 186"/>
              <a:gd name="T99" fmla="*/ 86 h 185"/>
              <a:gd name="T100" fmla="*/ 126 w 186"/>
              <a:gd name="T101" fmla="*/ 69 h 185"/>
              <a:gd name="T102" fmla="*/ 133 w 186"/>
              <a:gd name="T103" fmla="*/ 86 h 185"/>
              <a:gd name="T104" fmla="*/ 142 w 186"/>
              <a:gd name="T105" fmla="*/ 113 h 185"/>
              <a:gd name="T106" fmla="*/ 126 w 186"/>
              <a:gd name="T107" fmla="*/ 107 h 185"/>
              <a:gd name="T108" fmla="*/ 153 w 186"/>
              <a:gd name="T109" fmla="*/ 152 h 185"/>
              <a:gd name="T110" fmla="*/ 125 w 186"/>
              <a:gd name="T111" fmla="*/ 124 h 185"/>
              <a:gd name="T112" fmla="*/ 153 w 186"/>
              <a:gd name="T113" fmla="*/ 152 h 185"/>
              <a:gd name="T114" fmla="*/ 138 w 186"/>
              <a:gd name="T115" fmla="*/ 93 h 185"/>
              <a:gd name="T116" fmla="*/ 177 w 186"/>
              <a:gd name="T117" fmla="*/ 9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6" h="185">
                <a:moveTo>
                  <a:pt x="93" y="84"/>
                </a:moveTo>
                <a:cubicBezTo>
                  <a:pt x="88" y="84"/>
                  <a:pt x="85" y="88"/>
                  <a:pt x="85" y="93"/>
                </a:cubicBezTo>
                <a:cubicBezTo>
                  <a:pt x="85" y="97"/>
                  <a:pt x="88" y="101"/>
                  <a:pt x="93" y="101"/>
                </a:cubicBezTo>
                <a:cubicBezTo>
                  <a:pt x="98" y="101"/>
                  <a:pt x="101" y="97"/>
                  <a:pt x="101" y="93"/>
                </a:cubicBezTo>
                <a:cubicBezTo>
                  <a:pt x="101" y="88"/>
                  <a:pt x="98" y="84"/>
                  <a:pt x="93" y="84"/>
                </a:cubicBezTo>
                <a:close/>
                <a:moveTo>
                  <a:pt x="186" y="93"/>
                </a:moveTo>
                <a:cubicBezTo>
                  <a:pt x="186" y="83"/>
                  <a:pt x="174" y="74"/>
                  <a:pt x="154" y="67"/>
                </a:cubicBezTo>
                <a:cubicBezTo>
                  <a:pt x="163" y="49"/>
                  <a:pt x="166" y="34"/>
                  <a:pt x="159" y="27"/>
                </a:cubicBezTo>
                <a:cubicBezTo>
                  <a:pt x="151" y="20"/>
                  <a:pt x="136" y="22"/>
                  <a:pt x="118" y="32"/>
                </a:cubicBezTo>
                <a:cubicBezTo>
                  <a:pt x="112" y="12"/>
                  <a:pt x="103" y="0"/>
                  <a:pt x="93" y="0"/>
                </a:cubicBezTo>
                <a:cubicBezTo>
                  <a:pt x="83" y="0"/>
                  <a:pt x="74" y="12"/>
                  <a:pt x="68" y="32"/>
                </a:cubicBezTo>
                <a:cubicBezTo>
                  <a:pt x="50" y="22"/>
                  <a:pt x="35" y="20"/>
                  <a:pt x="27" y="27"/>
                </a:cubicBezTo>
                <a:cubicBezTo>
                  <a:pt x="20" y="34"/>
                  <a:pt x="23" y="49"/>
                  <a:pt x="32" y="67"/>
                </a:cubicBezTo>
                <a:cubicBezTo>
                  <a:pt x="12" y="74"/>
                  <a:pt x="0" y="83"/>
                  <a:pt x="0" y="93"/>
                </a:cubicBezTo>
                <a:cubicBezTo>
                  <a:pt x="0" y="103"/>
                  <a:pt x="12" y="112"/>
                  <a:pt x="32" y="118"/>
                </a:cubicBezTo>
                <a:cubicBezTo>
                  <a:pt x="23" y="136"/>
                  <a:pt x="20" y="151"/>
                  <a:pt x="27" y="158"/>
                </a:cubicBezTo>
                <a:cubicBezTo>
                  <a:pt x="35" y="165"/>
                  <a:pt x="50" y="163"/>
                  <a:pt x="68" y="154"/>
                </a:cubicBezTo>
                <a:cubicBezTo>
                  <a:pt x="74" y="173"/>
                  <a:pt x="83" y="185"/>
                  <a:pt x="93" y="185"/>
                </a:cubicBezTo>
                <a:cubicBezTo>
                  <a:pt x="103" y="185"/>
                  <a:pt x="112" y="173"/>
                  <a:pt x="118" y="154"/>
                </a:cubicBezTo>
                <a:cubicBezTo>
                  <a:pt x="136" y="163"/>
                  <a:pt x="151" y="165"/>
                  <a:pt x="159" y="158"/>
                </a:cubicBezTo>
                <a:cubicBezTo>
                  <a:pt x="166" y="151"/>
                  <a:pt x="163" y="136"/>
                  <a:pt x="154" y="118"/>
                </a:cubicBezTo>
                <a:cubicBezTo>
                  <a:pt x="174" y="112"/>
                  <a:pt x="186" y="103"/>
                  <a:pt x="186" y="93"/>
                </a:cubicBezTo>
                <a:close/>
                <a:moveTo>
                  <a:pt x="9" y="93"/>
                </a:moveTo>
                <a:cubicBezTo>
                  <a:pt x="9" y="85"/>
                  <a:pt x="19" y="79"/>
                  <a:pt x="36" y="74"/>
                </a:cubicBezTo>
                <a:cubicBezTo>
                  <a:pt x="39" y="80"/>
                  <a:pt x="43" y="86"/>
                  <a:pt x="48" y="93"/>
                </a:cubicBezTo>
                <a:cubicBezTo>
                  <a:pt x="43" y="99"/>
                  <a:pt x="39" y="105"/>
                  <a:pt x="36" y="111"/>
                </a:cubicBezTo>
                <a:cubicBezTo>
                  <a:pt x="19" y="107"/>
                  <a:pt x="9" y="100"/>
                  <a:pt x="9" y="93"/>
                </a:cubicBezTo>
                <a:close/>
                <a:moveTo>
                  <a:pt x="60" y="79"/>
                </a:moveTo>
                <a:cubicBezTo>
                  <a:pt x="58" y="81"/>
                  <a:pt x="55" y="84"/>
                  <a:pt x="53" y="86"/>
                </a:cubicBezTo>
                <a:cubicBezTo>
                  <a:pt x="50" y="81"/>
                  <a:pt x="46" y="77"/>
                  <a:pt x="44" y="72"/>
                </a:cubicBezTo>
                <a:cubicBezTo>
                  <a:pt x="49" y="71"/>
                  <a:pt x="54" y="70"/>
                  <a:pt x="60" y="69"/>
                </a:cubicBezTo>
                <a:cubicBezTo>
                  <a:pt x="60" y="72"/>
                  <a:pt x="60" y="76"/>
                  <a:pt x="60" y="79"/>
                </a:cubicBezTo>
                <a:close/>
                <a:moveTo>
                  <a:pt x="60" y="116"/>
                </a:moveTo>
                <a:cubicBezTo>
                  <a:pt x="54" y="115"/>
                  <a:pt x="49" y="114"/>
                  <a:pt x="44" y="113"/>
                </a:cubicBezTo>
                <a:cubicBezTo>
                  <a:pt x="46" y="109"/>
                  <a:pt x="50" y="104"/>
                  <a:pt x="53" y="99"/>
                </a:cubicBezTo>
                <a:cubicBezTo>
                  <a:pt x="55" y="102"/>
                  <a:pt x="58" y="104"/>
                  <a:pt x="60" y="107"/>
                </a:cubicBezTo>
                <a:cubicBezTo>
                  <a:pt x="60" y="110"/>
                  <a:pt x="60" y="113"/>
                  <a:pt x="60" y="116"/>
                </a:cubicBezTo>
                <a:close/>
                <a:moveTo>
                  <a:pt x="33" y="152"/>
                </a:moveTo>
                <a:cubicBezTo>
                  <a:pt x="28" y="147"/>
                  <a:pt x="31" y="135"/>
                  <a:pt x="39" y="120"/>
                </a:cubicBezTo>
                <a:cubicBezTo>
                  <a:pt x="46" y="122"/>
                  <a:pt x="53" y="123"/>
                  <a:pt x="61" y="124"/>
                </a:cubicBezTo>
                <a:cubicBezTo>
                  <a:pt x="62" y="132"/>
                  <a:pt x="64" y="140"/>
                  <a:pt x="66" y="146"/>
                </a:cubicBezTo>
                <a:cubicBezTo>
                  <a:pt x="51" y="155"/>
                  <a:pt x="39" y="158"/>
                  <a:pt x="33" y="152"/>
                </a:cubicBezTo>
                <a:close/>
                <a:moveTo>
                  <a:pt x="61" y="61"/>
                </a:moveTo>
                <a:cubicBezTo>
                  <a:pt x="53" y="62"/>
                  <a:pt x="46" y="63"/>
                  <a:pt x="39" y="65"/>
                </a:cubicBezTo>
                <a:cubicBezTo>
                  <a:pt x="31" y="50"/>
                  <a:pt x="28" y="38"/>
                  <a:pt x="33" y="33"/>
                </a:cubicBezTo>
                <a:cubicBezTo>
                  <a:pt x="39" y="28"/>
                  <a:pt x="51" y="31"/>
                  <a:pt x="66" y="39"/>
                </a:cubicBezTo>
                <a:cubicBezTo>
                  <a:pt x="64" y="46"/>
                  <a:pt x="62" y="53"/>
                  <a:pt x="61" y="61"/>
                </a:cubicBezTo>
                <a:close/>
                <a:moveTo>
                  <a:pt x="116" y="60"/>
                </a:moveTo>
                <a:cubicBezTo>
                  <a:pt x="113" y="60"/>
                  <a:pt x="110" y="60"/>
                  <a:pt x="107" y="59"/>
                </a:cubicBezTo>
                <a:cubicBezTo>
                  <a:pt x="104" y="57"/>
                  <a:pt x="102" y="55"/>
                  <a:pt x="100" y="53"/>
                </a:cubicBezTo>
                <a:cubicBezTo>
                  <a:pt x="104" y="49"/>
                  <a:pt x="109" y="46"/>
                  <a:pt x="114" y="43"/>
                </a:cubicBezTo>
                <a:cubicBezTo>
                  <a:pt x="115" y="48"/>
                  <a:pt x="116" y="54"/>
                  <a:pt x="116" y="60"/>
                </a:cubicBezTo>
                <a:close/>
                <a:moveTo>
                  <a:pt x="93" y="8"/>
                </a:moveTo>
                <a:cubicBezTo>
                  <a:pt x="100" y="8"/>
                  <a:pt x="107" y="19"/>
                  <a:pt x="112" y="35"/>
                </a:cubicBezTo>
                <a:cubicBezTo>
                  <a:pt x="106" y="39"/>
                  <a:pt x="99" y="43"/>
                  <a:pt x="93" y="48"/>
                </a:cubicBezTo>
                <a:cubicBezTo>
                  <a:pt x="87" y="43"/>
                  <a:pt x="80" y="39"/>
                  <a:pt x="74" y="35"/>
                </a:cubicBezTo>
                <a:cubicBezTo>
                  <a:pt x="79" y="19"/>
                  <a:pt x="86" y="8"/>
                  <a:pt x="93" y="8"/>
                </a:cubicBezTo>
                <a:close/>
                <a:moveTo>
                  <a:pt x="73" y="43"/>
                </a:moveTo>
                <a:cubicBezTo>
                  <a:pt x="77" y="46"/>
                  <a:pt x="82" y="49"/>
                  <a:pt x="86" y="53"/>
                </a:cubicBezTo>
                <a:cubicBezTo>
                  <a:pt x="84" y="55"/>
                  <a:pt x="82" y="57"/>
                  <a:pt x="79" y="59"/>
                </a:cubicBezTo>
                <a:cubicBezTo>
                  <a:pt x="76" y="60"/>
                  <a:pt x="73" y="60"/>
                  <a:pt x="70" y="60"/>
                </a:cubicBezTo>
                <a:cubicBezTo>
                  <a:pt x="70" y="54"/>
                  <a:pt x="71" y="48"/>
                  <a:pt x="73" y="43"/>
                </a:cubicBezTo>
                <a:close/>
                <a:moveTo>
                  <a:pt x="70" y="125"/>
                </a:moveTo>
                <a:cubicBezTo>
                  <a:pt x="73" y="126"/>
                  <a:pt x="76" y="126"/>
                  <a:pt x="79" y="126"/>
                </a:cubicBezTo>
                <a:cubicBezTo>
                  <a:pt x="82" y="128"/>
                  <a:pt x="84" y="130"/>
                  <a:pt x="86" y="132"/>
                </a:cubicBezTo>
                <a:cubicBezTo>
                  <a:pt x="82" y="136"/>
                  <a:pt x="77" y="139"/>
                  <a:pt x="73" y="142"/>
                </a:cubicBezTo>
                <a:cubicBezTo>
                  <a:pt x="71" y="137"/>
                  <a:pt x="70" y="131"/>
                  <a:pt x="70" y="125"/>
                </a:cubicBezTo>
                <a:close/>
                <a:moveTo>
                  <a:pt x="93" y="177"/>
                </a:moveTo>
                <a:cubicBezTo>
                  <a:pt x="86" y="177"/>
                  <a:pt x="79" y="167"/>
                  <a:pt x="74" y="150"/>
                </a:cubicBezTo>
                <a:cubicBezTo>
                  <a:pt x="80" y="147"/>
                  <a:pt x="87" y="142"/>
                  <a:pt x="93" y="137"/>
                </a:cubicBezTo>
                <a:cubicBezTo>
                  <a:pt x="99" y="142"/>
                  <a:pt x="106" y="147"/>
                  <a:pt x="112" y="150"/>
                </a:cubicBezTo>
                <a:cubicBezTo>
                  <a:pt x="107" y="167"/>
                  <a:pt x="100" y="177"/>
                  <a:pt x="93" y="177"/>
                </a:cubicBezTo>
                <a:close/>
                <a:moveTo>
                  <a:pt x="114" y="142"/>
                </a:moveTo>
                <a:cubicBezTo>
                  <a:pt x="109" y="139"/>
                  <a:pt x="104" y="136"/>
                  <a:pt x="100" y="132"/>
                </a:cubicBezTo>
                <a:cubicBezTo>
                  <a:pt x="102" y="130"/>
                  <a:pt x="104" y="128"/>
                  <a:pt x="107" y="126"/>
                </a:cubicBezTo>
                <a:cubicBezTo>
                  <a:pt x="110" y="126"/>
                  <a:pt x="113" y="126"/>
                  <a:pt x="116" y="125"/>
                </a:cubicBezTo>
                <a:cubicBezTo>
                  <a:pt x="116" y="131"/>
                  <a:pt x="115" y="137"/>
                  <a:pt x="114" y="142"/>
                </a:cubicBezTo>
                <a:close/>
                <a:moveTo>
                  <a:pt x="118" y="103"/>
                </a:moveTo>
                <a:cubicBezTo>
                  <a:pt x="116" y="106"/>
                  <a:pt x="113" y="108"/>
                  <a:pt x="111" y="111"/>
                </a:cubicBezTo>
                <a:cubicBezTo>
                  <a:pt x="108" y="113"/>
                  <a:pt x="106" y="115"/>
                  <a:pt x="103" y="118"/>
                </a:cubicBezTo>
                <a:cubicBezTo>
                  <a:pt x="100" y="118"/>
                  <a:pt x="97" y="118"/>
                  <a:pt x="93" y="118"/>
                </a:cubicBezTo>
                <a:cubicBezTo>
                  <a:pt x="89" y="118"/>
                  <a:pt x="86" y="118"/>
                  <a:pt x="83" y="118"/>
                </a:cubicBezTo>
                <a:cubicBezTo>
                  <a:pt x="80" y="115"/>
                  <a:pt x="78" y="113"/>
                  <a:pt x="75" y="111"/>
                </a:cubicBezTo>
                <a:cubicBezTo>
                  <a:pt x="73" y="108"/>
                  <a:pt x="70" y="106"/>
                  <a:pt x="68" y="103"/>
                </a:cubicBezTo>
                <a:cubicBezTo>
                  <a:pt x="68" y="100"/>
                  <a:pt x="68" y="96"/>
                  <a:pt x="68" y="93"/>
                </a:cubicBezTo>
                <a:cubicBezTo>
                  <a:pt x="68" y="89"/>
                  <a:pt x="68" y="86"/>
                  <a:pt x="68" y="82"/>
                </a:cubicBezTo>
                <a:cubicBezTo>
                  <a:pt x="70" y="80"/>
                  <a:pt x="73" y="77"/>
                  <a:pt x="75" y="75"/>
                </a:cubicBezTo>
                <a:cubicBezTo>
                  <a:pt x="78" y="72"/>
                  <a:pt x="80" y="70"/>
                  <a:pt x="83" y="68"/>
                </a:cubicBezTo>
                <a:cubicBezTo>
                  <a:pt x="86" y="67"/>
                  <a:pt x="89" y="67"/>
                  <a:pt x="93" y="67"/>
                </a:cubicBezTo>
                <a:cubicBezTo>
                  <a:pt x="97" y="67"/>
                  <a:pt x="100" y="67"/>
                  <a:pt x="103" y="68"/>
                </a:cubicBezTo>
                <a:cubicBezTo>
                  <a:pt x="106" y="70"/>
                  <a:pt x="108" y="72"/>
                  <a:pt x="111" y="75"/>
                </a:cubicBezTo>
                <a:cubicBezTo>
                  <a:pt x="113" y="77"/>
                  <a:pt x="116" y="80"/>
                  <a:pt x="118" y="82"/>
                </a:cubicBezTo>
                <a:cubicBezTo>
                  <a:pt x="118" y="86"/>
                  <a:pt x="118" y="89"/>
                  <a:pt x="118" y="93"/>
                </a:cubicBezTo>
                <a:cubicBezTo>
                  <a:pt x="118" y="96"/>
                  <a:pt x="118" y="100"/>
                  <a:pt x="118" y="103"/>
                </a:cubicBezTo>
                <a:close/>
                <a:moveTo>
                  <a:pt x="153" y="33"/>
                </a:moveTo>
                <a:cubicBezTo>
                  <a:pt x="158" y="38"/>
                  <a:pt x="155" y="50"/>
                  <a:pt x="147" y="65"/>
                </a:cubicBezTo>
                <a:cubicBezTo>
                  <a:pt x="140" y="63"/>
                  <a:pt x="133" y="62"/>
                  <a:pt x="125" y="61"/>
                </a:cubicBezTo>
                <a:cubicBezTo>
                  <a:pt x="124" y="53"/>
                  <a:pt x="122" y="46"/>
                  <a:pt x="120" y="39"/>
                </a:cubicBezTo>
                <a:cubicBezTo>
                  <a:pt x="135" y="31"/>
                  <a:pt x="147" y="28"/>
                  <a:pt x="153" y="33"/>
                </a:cubicBezTo>
                <a:close/>
                <a:moveTo>
                  <a:pt x="133" y="86"/>
                </a:moveTo>
                <a:cubicBezTo>
                  <a:pt x="131" y="84"/>
                  <a:pt x="128" y="81"/>
                  <a:pt x="126" y="79"/>
                </a:cubicBezTo>
                <a:cubicBezTo>
                  <a:pt x="126" y="76"/>
                  <a:pt x="126" y="72"/>
                  <a:pt x="126" y="69"/>
                </a:cubicBezTo>
                <a:cubicBezTo>
                  <a:pt x="132" y="70"/>
                  <a:pt x="137" y="71"/>
                  <a:pt x="142" y="72"/>
                </a:cubicBezTo>
                <a:cubicBezTo>
                  <a:pt x="140" y="77"/>
                  <a:pt x="136" y="81"/>
                  <a:pt x="133" y="86"/>
                </a:cubicBezTo>
                <a:close/>
                <a:moveTo>
                  <a:pt x="133" y="99"/>
                </a:moveTo>
                <a:cubicBezTo>
                  <a:pt x="136" y="104"/>
                  <a:pt x="140" y="109"/>
                  <a:pt x="142" y="113"/>
                </a:cubicBezTo>
                <a:cubicBezTo>
                  <a:pt x="137" y="114"/>
                  <a:pt x="132" y="115"/>
                  <a:pt x="126" y="116"/>
                </a:cubicBezTo>
                <a:cubicBezTo>
                  <a:pt x="126" y="113"/>
                  <a:pt x="126" y="110"/>
                  <a:pt x="126" y="107"/>
                </a:cubicBezTo>
                <a:cubicBezTo>
                  <a:pt x="129" y="104"/>
                  <a:pt x="131" y="102"/>
                  <a:pt x="133" y="99"/>
                </a:cubicBezTo>
                <a:close/>
                <a:moveTo>
                  <a:pt x="153" y="152"/>
                </a:moveTo>
                <a:cubicBezTo>
                  <a:pt x="147" y="158"/>
                  <a:pt x="135" y="155"/>
                  <a:pt x="120" y="146"/>
                </a:cubicBezTo>
                <a:cubicBezTo>
                  <a:pt x="122" y="140"/>
                  <a:pt x="124" y="132"/>
                  <a:pt x="125" y="124"/>
                </a:cubicBezTo>
                <a:cubicBezTo>
                  <a:pt x="133" y="123"/>
                  <a:pt x="140" y="122"/>
                  <a:pt x="147" y="120"/>
                </a:cubicBezTo>
                <a:cubicBezTo>
                  <a:pt x="155" y="135"/>
                  <a:pt x="158" y="147"/>
                  <a:pt x="153" y="152"/>
                </a:cubicBezTo>
                <a:close/>
                <a:moveTo>
                  <a:pt x="150" y="111"/>
                </a:moveTo>
                <a:cubicBezTo>
                  <a:pt x="147" y="105"/>
                  <a:pt x="143" y="99"/>
                  <a:pt x="138" y="93"/>
                </a:cubicBezTo>
                <a:cubicBezTo>
                  <a:pt x="143" y="86"/>
                  <a:pt x="147" y="80"/>
                  <a:pt x="150" y="74"/>
                </a:cubicBezTo>
                <a:cubicBezTo>
                  <a:pt x="167" y="79"/>
                  <a:pt x="177" y="85"/>
                  <a:pt x="177" y="93"/>
                </a:cubicBezTo>
                <a:cubicBezTo>
                  <a:pt x="177" y="100"/>
                  <a:pt x="167" y="107"/>
                  <a:pt x="150" y="1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70" name="Freeform 509">
            <a:extLst>
              <a:ext uri="{FF2B5EF4-FFF2-40B4-BE49-F238E27FC236}">
                <a16:creationId xmlns:a16="http://schemas.microsoft.com/office/drawing/2014/main" id="{0825C2CD-E56C-3346-B5A6-4BB97E52552F}"/>
              </a:ext>
            </a:extLst>
          </p:cNvPr>
          <p:cNvSpPr>
            <a:spLocks noEditPoints="1"/>
          </p:cNvSpPr>
          <p:nvPr/>
        </p:nvSpPr>
        <p:spPr bwMode="auto">
          <a:xfrm>
            <a:off x="6648087" y="2855204"/>
            <a:ext cx="453310" cy="390276"/>
          </a:xfrm>
          <a:custGeom>
            <a:avLst/>
            <a:gdLst>
              <a:gd name="T0" fmla="*/ 183 w 186"/>
              <a:gd name="T1" fmla="*/ 76 h 160"/>
              <a:gd name="T2" fmla="*/ 156 w 186"/>
              <a:gd name="T3" fmla="*/ 63 h 160"/>
              <a:gd name="T4" fmla="*/ 183 w 186"/>
              <a:gd name="T5" fmla="*/ 50 h 160"/>
              <a:gd name="T6" fmla="*/ 183 w 186"/>
              <a:gd name="T7" fmla="*/ 42 h 160"/>
              <a:gd name="T8" fmla="*/ 95 w 186"/>
              <a:gd name="T9" fmla="*/ 0 h 160"/>
              <a:gd name="T10" fmla="*/ 93 w 186"/>
              <a:gd name="T11" fmla="*/ 0 h 160"/>
              <a:gd name="T12" fmla="*/ 91 w 186"/>
              <a:gd name="T13" fmla="*/ 0 h 160"/>
              <a:gd name="T14" fmla="*/ 2 w 186"/>
              <a:gd name="T15" fmla="*/ 42 h 160"/>
              <a:gd name="T16" fmla="*/ 2 w 186"/>
              <a:gd name="T17" fmla="*/ 50 h 160"/>
              <a:gd name="T18" fmla="*/ 30 w 186"/>
              <a:gd name="T19" fmla="*/ 63 h 160"/>
              <a:gd name="T20" fmla="*/ 2 w 186"/>
              <a:gd name="T21" fmla="*/ 76 h 160"/>
              <a:gd name="T22" fmla="*/ 2 w 186"/>
              <a:gd name="T23" fmla="*/ 83 h 160"/>
              <a:gd name="T24" fmla="*/ 30 w 186"/>
              <a:gd name="T25" fmla="*/ 97 h 160"/>
              <a:gd name="T26" fmla="*/ 2 w 186"/>
              <a:gd name="T27" fmla="*/ 110 h 160"/>
              <a:gd name="T28" fmla="*/ 2 w 186"/>
              <a:gd name="T29" fmla="*/ 117 h 160"/>
              <a:gd name="T30" fmla="*/ 91 w 186"/>
              <a:gd name="T31" fmla="*/ 159 h 160"/>
              <a:gd name="T32" fmla="*/ 93 w 186"/>
              <a:gd name="T33" fmla="*/ 160 h 160"/>
              <a:gd name="T34" fmla="*/ 95 w 186"/>
              <a:gd name="T35" fmla="*/ 159 h 160"/>
              <a:gd name="T36" fmla="*/ 183 w 186"/>
              <a:gd name="T37" fmla="*/ 117 h 160"/>
              <a:gd name="T38" fmla="*/ 183 w 186"/>
              <a:gd name="T39" fmla="*/ 110 h 160"/>
              <a:gd name="T40" fmla="*/ 156 w 186"/>
              <a:gd name="T41" fmla="*/ 97 h 160"/>
              <a:gd name="T42" fmla="*/ 183 w 186"/>
              <a:gd name="T43" fmla="*/ 83 h 160"/>
              <a:gd name="T44" fmla="*/ 14 w 186"/>
              <a:gd name="T45" fmla="*/ 46 h 160"/>
              <a:gd name="T46" fmla="*/ 172 w 186"/>
              <a:gd name="T47" fmla="*/ 46 h 160"/>
              <a:gd name="T48" fmla="*/ 14 w 186"/>
              <a:gd name="T49" fmla="*/ 46 h 160"/>
              <a:gd name="T50" fmla="*/ 93 w 186"/>
              <a:gd name="T51" fmla="*/ 151 h 160"/>
              <a:gd name="T52" fmla="*/ 40 w 186"/>
              <a:gd name="T53" fmla="*/ 101 h 160"/>
              <a:gd name="T54" fmla="*/ 91 w 186"/>
              <a:gd name="T55" fmla="*/ 126 h 160"/>
              <a:gd name="T56" fmla="*/ 95 w 186"/>
              <a:gd name="T57" fmla="*/ 126 h 160"/>
              <a:gd name="T58" fmla="*/ 146 w 186"/>
              <a:gd name="T59" fmla="*/ 101 h 160"/>
              <a:gd name="T60" fmla="*/ 93 w 186"/>
              <a:gd name="T61" fmla="*/ 117 h 160"/>
              <a:gd name="T62" fmla="*/ 40 w 186"/>
              <a:gd name="T63" fmla="*/ 67 h 160"/>
              <a:gd name="T64" fmla="*/ 91 w 186"/>
              <a:gd name="T65" fmla="*/ 92 h 160"/>
              <a:gd name="T66" fmla="*/ 95 w 186"/>
              <a:gd name="T67" fmla="*/ 92 h 160"/>
              <a:gd name="T68" fmla="*/ 146 w 186"/>
              <a:gd name="T69" fmla="*/ 67 h 160"/>
              <a:gd name="T70" fmla="*/ 93 w 186"/>
              <a:gd name="T71" fmla="*/ 11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6" h="160">
                <a:moveTo>
                  <a:pt x="186" y="80"/>
                </a:moveTo>
                <a:cubicBezTo>
                  <a:pt x="186" y="78"/>
                  <a:pt x="185" y="77"/>
                  <a:pt x="183" y="76"/>
                </a:cubicBezTo>
                <a:cubicBezTo>
                  <a:pt x="183" y="76"/>
                  <a:pt x="183" y="76"/>
                  <a:pt x="183" y="76"/>
                </a:cubicBezTo>
                <a:cubicBezTo>
                  <a:pt x="156" y="63"/>
                  <a:pt x="156" y="63"/>
                  <a:pt x="156" y="63"/>
                </a:cubicBezTo>
                <a:cubicBezTo>
                  <a:pt x="183" y="50"/>
                  <a:pt x="183" y="50"/>
                  <a:pt x="183" y="50"/>
                </a:cubicBezTo>
                <a:cubicBezTo>
                  <a:pt x="183" y="50"/>
                  <a:pt x="183" y="50"/>
                  <a:pt x="183" y="50"/>
                </a:cubicBezTo>
                <a:cubicBezTo>
                  <a:pt x="185" y="49"/>
                  <a:pt x="186" y="48"/>
                  <a:pt x="186" y="46"/>
                </a:cubicBezTo>
                <a:cubicBezTo>
                  <a:pt x="186" y="44"/>
                  <a:pt x="185" y="43"/>
                  <a:pt x="183" y="42"/>
                </a:cubicBezTo>
                <a:cubicBezTo>
                  <a:pt x="183" y="42"/>
                  <a:pt x="183" y="42"/>
                  <a:pt x="183" y="42"/>
                </a:cubicBezTo>
                <a:cubicBezTo>
                  <a:pt x="95" y="0"/>
                  <a:pt x="95" y="0"/>
                  <a:pt x="95" y="0"/>
                </a:cubicBezTo>
                <a:cubicBezTo>
                  <a:pt x="95" y="0"/>
                  <a:pt x="95" y="0"/>
                  <a:pt x="95" y="0"/>
                </a:cubicBezTo>
                <a:cubicBezTo>
                  <a:pt x="94" y="0"/>
                  <a:pt x="94" y="0"/>
                  <a:pt x="93" y="0"/>
                </a:cubicBezTo>
                <a:cubicBezTo>
                  <a:pt x="92" y="0"/>
                  <a:pt x="92" y="0"/>
                  <a:pt x="91" y="0"/>
                </a:cubicBezTo>
                <a:cubicBezTo>
                  <a:pt x="91" y="0"/>
                  <a:pt x="91" y="0"/>
                  <a:pt x="91" y="0"/>
                </a:cubicBezTo>
                <a:cubicBezTo>
                  <a:pt x="2" y="42"/>
                  <a:pt x="2" y="42"/>
                  <a:pt x="2" y="42"/>
                </a:cubicBezTo>
                <a:cubicBezTo>
                  <a:pt x="2" y="42"/>
                  <a:pt x="2" y="42"/>
                  <a:pt x="2" y="42"/>
                </a:cubicBezTo>
                <a:cubicBezTo>
                  <a:pt x="1" y="43"/>
                  <a:pt x="0" y="44"/>
                  <a:pt x="0" y="46"/>
                </a:cubicBezTo>
                <a:cubicBezTo>
                  <a:pt x="0" y="48"/>
                  <a:pt x="1" y="49"/>
                  <a:pt x="2" y="50"/>
                </a:cubicBezTo>
                <a:cubicBezTo>
                  <a:pt x="2" y="50"/>
                  <a:pt x="2" y="50"/>
                  <a:pt x="2" y="50"/>
                </a:cubicBezTo>
                <a:cubicBezTo>
                  <a:pt x="30" y="63"/>
                  <a:pt x="30" y="63"/>
                  <a:pt x="30" y="63"/>
                </a:cubicBezTo>
                <a:cubicBezTo>
                  <a:pt x="2" y="76"/>
                  <a:pt x="2" y="76"/>
                  <a:pt x="2" y="76"/>
                </a:cubicBezTo>
                <a:cubicBezTo>
                  <a:pt x="2" y="76"/>
                  <a:pt x="2" y="76"/>
                  <a:pt x="2" y="76"/>
                </a:cubicBezTo>
                <a:cubicBezTo>
                  <a:pt x="1" y="77"/>
                  <a:pt x="0" y="78"/>
                  <a:pt x="0" y="80"/>
                </a:cubicBezTo>
                <a:cubicBezTo>
                  <a:pt x="0" y="81"/>
                  <a:pt x="1" y="83"/>
                  <a:pt x="2" y="83"/>
                </a:cubicBezTo>
                <a:cubicBezTo>
                  <a:pt x="2" y="83"/>
                  <a:pt x="2" y="83"/>
                  <a:pt x="2" y="83"/>
                </a:cubicBezTo>
                <a:cubicBezTo>
                  <a:pt x="30" y="97"/>
                  <a:pt x="30" y="97"/>
                  <a:pt x="30" y="97"/>
                </a:cubicBezTo>
                <a:cubicBezTo>
                  <a:pt x="2" y="110"/>
                  <a:pt x="2" y="110"/>
                  <a:pt x="2" y="110"/>
                </a:cubicBezTo>
                <a:cubicBezTo>
                  <a:pt x="2" y="110"/>
                  <a:pt x="2" y="110"/>
                  <a:pt x="2" y="110"/>
                </a:cubicBezTo>
                <a:cubicBezTo>
                  <a:pt x="1" y="110"/>
                  <a:pt x="0" y="112"/>
                  <a:pt x="0" y="113"/>
                </a:cubicBezTo>
                <a:cubicBezTo>
                  <a:pt x="0" y="115"/>
                  <a:pt x="1" y="117"/>
                  <a:pt x="2" y="117"/>
                </a:cubicBezTo>
                <a:cubicBezTo>
                  <a:pt x="2" y="117"/>
                  <a:pt x="2" y="117"/>
                  <a:pt x="2" y="117"/>
                </a:cubicBezTo>
                <a:cubicBezTo>
                  <a:pt x="91" y="159"/>
                  <a:pt x="91" y="159"/>
                  <a:pt x="91" y="159"/>
                </a:cubicBezTo>
                <a:cubicBezTo>
                  <a:pt x="91" y="159"/>
                  <a:pt x="91" y="159"/>
                  <a:pt x="91" y="159"/>
                </a:cubicBezTo>
                <a:cubicBezTo>
                  <a:pt x="92" y="160"/>
                  <a:pt x="92" y="160"/>
                  <a:pt x="93" y="160"/>
                </a:cubicBezTo>
                <a:cubicBezTo>
                  <a:pt x="94" y="160"/>
                  <a:pt x="94" y="160"/>
                  <a:pt x="95" y="159"/>
                </a:cubicBezTo>
                <a:cubicBezTo>
                  <a:pt x="95" y="159"/>
                  <a:pt x="95" y="159"/>
                  <a:pt x="95" y="159"/>
                </a:cubicBezTo>
                <a:cubicBezTo>
                  <a:pt x="183" y="117"/>
                  <a:pt x="183" y="117"/>
                  <a:pt x="183" y="117"/>
                </a:cubicBezTo>
                <a:cubicBezTo>
                  <a:pt x="183" y="117"/>
                  <a:pt x="183" y="117"/>
                  <a:pt x="183" y="117"/>
                </a:cubicBezTo>
                <a:cubicBezTo>
                  <a:pt x="185" y="117"/>
                  <a:pt x="186" y="115"/>
                  <a:pt x="186" y="113"/>
                </a:cubicBezTo>
                <a:cubicBezTo>
                  <a:pt x="186" y="112"/>
                  <a:pt x="185" y="110"/>
                  <a:pt x="183" y="110"/>
                </a:cubicBezTo>
                <a:cubicBezTo>
                  <a:pt x="183" y="110"/>
                  <a:pt x="183" y="110"/>
                  <a:pt x="183" y="110"/>
                </a:cubicBezTo>
                <a:cubicBezTo>
                  <a:pt x="156" y="97"/>
                  <a:pt x="156" y="97"/>
                  <a:pt x="156" y="97"/>
                </a:cubicBezTo>
                <a:cubicBezTo>
                  <a:pt x="183" y="83"/>
                  <a:pt x="183" y="83"/>
                  <a:pt x="183" y="83"/>
                </a:cubicBezTo>
                <a:cubicBezTo>
                  <a:pt x="183" y="83"/>
                  <a:pt x="183" y="83"/>
                  <a:pt x="183" y="83"/>
                </a:cubicBezTo>
                <a:cubicBezTo>
                  <a:pt x="185" y="83"/>
                  <a:pt x="186" y="81"/>
                  <a:pt x="186" y="80"/>
                </a:cubicBezTo>
                <a:close/>
                <a:moveTo>
                  <a:pt x="14" y="46"/>
                </a:moveTo>
                <a:cubicBezTo>
                  <a:pt x="93" y="8"/>
                  <a:pt x="93" y="8"/>
                  <a:pt x="93" y="8"/>
                </a:cubicBezTo>
                <a:cubicBezTo>
                  <a:pt x="172" y="46"/>
                  <a:pt x="172" y="46"/>
                  <a:pt x="172" y="46"/>
                </a:cubicBezTo>
                <a:cubicBezTo>
                  <a:pt x="93" y="83"/>
                  <a:pt x="93" y="83"/>
                  <a:pt x="93" y="83"/>
                </a:cubicBezTo>
                <a:lnTo>
                  <a:pt x="14" y="46"/>
                </a:lnTo>
                <a:close/>
                <a:moveTo>
                  <a:pt x="172" y="113"/>
                </a:moveTo>
                <a:cubicBezTo>
                  <a:pt x="93" y="151"/>
                  <a:pt x="93" y="151"/>
                  <a:pt x="93" y="151"/>
                </a:cubicBezTo>
                <a:cubicBezTo>
                  <a:pt x="14" y="113"/>
                  <a:pt x="14" y="113"/>
                  <a:pt x="14" y="113"/>
                </a:cubicBezTo>
                <a:cubicBezTo>
                  <a:pt x="40" y="101"/>
                  <a:pt x="40" y="101"/>
                  <a:pt x="40" y="101"/>
                </a:cubicBezTo>
                <a:cubicBezTo>
                  <a:pt x="91" y="126"/>
                  <a:pt x="91" y="126"/>
                  <a:pt x="91" y="126"/>
                </a:cubicBezTo>
                <a:cubicBezTo>
                  <a:pt x="91" y="126"/>
                  <a:pt x="91" y="126"/>
                  <a:pt x="91" y="126"/>
                </a:cubicBezTo>
                <a:cubicBezTo>
                  <a:pt x="92" y="126"/>
                  <a:pt x="92" y="126"/>
                  <a:pt x="93" y="126"/>
                </a:cubicBezTo>
                <a:cubicBezTo>
                  <a:pt x="94" y="126"/>
                  <a:pt x="94" y="126"/>
                  <a:pt x="95" y="126"/>
                </a:cubicBezTo>
                <a:cubicBezTo>
                  <a:pt x="95" y="126"/>
                  <a:pt x="95" y="126"/>
                  <a:pt x="95" y="126"/>
                </a:cubicBezTo>
                <a:cubicBezTo>
                  <a:pt x="146" y="101"/>
                  <a:pt x="146" y="101"/>
                  <a:pt x="146" y="101"/>
                </a:cubicBezTo>
                <a:lnTo>
                  <a:pt x="172" y="113"/>
                </a:lnTo>
                <a:close/>
                <a:moveTo>
                  <a:pt x="93" y="117"/>
                </a:moveTo>
                <a:cubicBezTo>
                  <a:pt x="14" y="80"/>
                  <a:pt x="14" y="80"/>
                  <a:pt x="14" y="80"/>
                </a:cubicBezTo>
                <a:cubicBezTo>
                  <a:pt x="40" y="67"/>
                  <a:pt x="40" y="67"/>
                  <a:pt x="40" y="67"/>
                </a:cubicBezTo>
                <a:cubicBezTo>
                  <a:pt x="91" y="92"/>
                  <a:pt x="91" y="92"/>
                  <a:pt x="91" y="92"/>
                </a:cubicBezTo>
                <a:cubicBezTo>
                  <a:pt x="91" y="92"/>
                  <a:pt x="91" y="92"/>
                  <a:pt x="91" y="92"/>
                </a:cubicBezTo>
                <a:cubicBezTo>
                  <a:pt x="92" y="92"/>
                  <a:pt x="92" y="92"/>
                  <a:pt x="93" y="92"/>
                </a:cubicBezTo>
                <a:cubicBezTo>
                  <a:pt x="94" y="92"/>
                  <a:pt x="94" y="92"/>
                  <a:pt x="95" y="92"/>
                </a:cubicBezTo>
                <a:cubicBezTo>
                  <a:pt x="95" y="92"/>
                  <a:pt x="95" y="92"/>
                  <a:pt x="95" y="92"/>
                </a:cubicBezTo>
                <a:cubicBezTo>
                  <a:pt x="146" y="67"/>
                  <a:pt x="146" y="67"/>
                  <a:pt x="146" y="67"/>
                </a:cubicBezTo>
                <a:cubicBezTo>
                  <a:pt x="172" y="80"/>
                  <a:pt x="172" y="80"/>
                  <a:pt x="172" y="80"/>
                </a:cubicBezTo>
                <a:lnTo>
                  <a:pt x="93" y="11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71" name="Freeform 497">
            <a:extLst>
              <a:ext uri="{FF2B5EF4-FFF2-40B4-BE49-F238E27FC236}">
                <a16:creationId xmlns:a16="http://schemas.microsoft.com/office/drawing/2014/main" id="{9EA36D2B-FEAE-474C-AE2A-E74C31934029}"/>
              </a:ext>
            </a:extLst>
          </p:cNvPr>
          <p:cNvSpPr>
            <a:spLocks noEditPoints="1"/>
          </p:cNvSpPr>
          <p:nvPr/>
        </p:nvSpPr>
        <p:spPr bwMode="auto">
          <a:xfrm>
            <a:off x="4522827" y="2732943"/>
            <a:ext cx="454651" cy="454651"/>
          </a:xfrm>
          <a:custGeom>
            <a:avLst/>
            <a:gdLst>
              <a:gd name="T0" fmla="*/ 80 w 186"/>
              <a:gd name="T1" fmla="*/ 93 h 186"/>
              <a:gd name="T2" fmla="*/ 84 w 186"/>
              <a:gd name="T3" fmla="*/ 87 h 186"/>
              <a:gd name="T4" fmla="*/ 63 w 186"/>
              <a:gd name="T5" fmla="*/ 53 h 186"/>
              <a:gd name="T6" fmla="*/ 59 w 186"/>
              <a:gd name="T7" fmla="*/ 51 h 186"/>
              <a:gd name="T8" fmla="*/ 56 w 186"/>
              <a:gd name="T9" fmla="*/ 53 h 186"/>
              <a:gd name="T10" fmla="*/ 35 w 186"/>
              <a:gd name="T11" fmla="*/ 87 h 186"/>
              <a:gd name="T12" fmla="*/ 38 w 186"/>
              <a:gd name="T13" fmla="*/ 93 h 186"/>
              <a:gd name="T14" fmla="*/ 73 w 186"/>
              <a:gd name="T15" fmla="*/ 85 h 186"/>
              <a:gd name="T16" fmla="*/ 59 w 186"/>
              <a:gd name="T17" fmla="*/ 63 h 186"/>
              <a:gd name="T18" fmla="*/ 152 w 186"/>
              <a:gd name="T19" fmla="*/ 93 h 186"/>
              <a:gd name="T20" fmla="*/ 102 w 186"/>
              <a:gd name="T21" fmla="*/ 93 h 186"/>
              <a:gd name="T22" fmla="*/ 127 w 186"/>
              <a:gd name="T23" fmla="*/ 76 h 186"/>
              <a:gd name="T24" fmla="*/ 127 w 186"/>
              <a:gd name="T25" fmla="*/ 110 h 186"/>
              <a:gd name="T26" fmla="*/ 127 w 186"/>
              <a:gd name="T27" fmla="*/ 76 h 186"/>
              <a:gd name="T28" fmla="*/ 102 w 186"/>
              <a:gd name="T29" fmla="*/ 9 h 186"/>
              <a:gd name="T30" fmla="*/ 85 w 186"/>
              <a:gd name="T31" fmla="*/ 9 h 186"/>
              <a:gd name="T32" fmla="*/ 0 w 186"/>
              <a:gd name="T33" fmla="*/ 17 h 186"/>
              <a:gd name="T34" fmla="*/ 9 w 186"/>
              <a:gd name="T35" fmla="*/ 34 h 186"/>
              <a:gd name="T36" fmla="*/ 17 w 186"/>
              <a:gd name="T37" fmla="*/ 144 h 186"/>
              <a:gd name="T38" fmla="*/ 89 w 186"/>
              <a:gd name="T39" fmla="*/ 155 h 186"/>
              <a:gd name="T40" fmla="*/ 64 w 186"/>
              <a:gd name="T41" fmla="*/ 182 h 186"/>
              <a:gd name="T42" fmla="*/ 71 w 186"/>
              <a:gd name="T43" fmla="*/ 185 h 186"/>
              <a:gd name="T44" fmla="*/ 115 w 186"/>
              <a:gd name="T45" fmla="*/ 185 h 186"/>
              <a:gd name="T46" fmla="*/ 123 w 186"/>
              <a:gd name="T47" fmla="*/ 182 h 186"/>
              <a:gd name="T48" fmla="*/ 97 w 186"/>
              <a:gd name="T49" fmla="*/ 155 h 186"/>
              <a:gd name="T50" fmla="*/ 169 w 186"/>
              <a:gd name="T51" fmla="*/ 144 h 186"/>
              <a:gd name="T52" fmla="*/ 177 w 186"/>
              <a:gd name="T53" fmla="*/ 34 h 186"/>
              <a:gd name="T54" fmla="*/ 186 w 186"/>
              <a:gd name="T55" fmla="*/ 17 h 186"/>
              <a:gd name="T56" fmla="*/ 169 w 186"/>
              <a:gd name="T57" fmla="*/ 135 h 186"/>
              <a:gd name="T58" fmla="*/ 17 w 186"/>
              <a:gd name="T59" fmla="*/ 34 h 186"/>
              <a:gd name="T60" fmla="*/ 169 w 186"/>
              <a:gd name="T61" fmla="*/ 135 h 186"/>
              <a:gd name="T62" fmla="*/ 9 w 186"/>
              <a:gd name="T63" fmla="*/ 26 h 186"/>
              <a:gd name="T64" fmla="*/ 177 w 186"/>
              <a:gd name="T65" fmla="*/ 1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6" h="186">
                <a:moveTo>
                  <a:pt x="38" y="93"/>
                </a:moveTo>
                <a:cubicBezTo>
                  <a:pt x="80" y="93"/>
                  <a:pt x="80" y="93"/>
                  <a:pt x="80" y="93"/>
                </a:cubicBezTo>
                <a:cubicBezTo>
                  <a:pt x="83" y="93"/>
                  <a:pt x="85" y="91"/>
                  <a:pt x="85" y="89"/>
                </a:cubicBezTo>
                <a:cubicBezTo>
                  <a:pt x="85" y="88"/>
                  <a:pt x="84" y="87"/>
                  <a:pt x="84" y="87"/>
                </a:cubicBezTo>
                <a:cubicBezTo>
                  <a:pt x="84" y="87"/>
                  <a:pt x="84" y="87"/>
                  <a:pt x="84" y="87"/>
                </a:cubicBezTo>
                <a:cubicBezTo>
                  <a:pt x="63" y="53"/>
                  <a:pt x="63" y="53"/>
                  <a:pt x="63" y="53"/>
                </a:cubicBezTo>
                <a:cubicBezTo>
                  <a:pt x="63" y="53"/>
                  <a:pt x="63" y="53"/>
                  <a:pt x="63" y="53"/>
                </a:cubicBezTo>
                <a:cubicBezTo>
                  <a:pt x="62" y="52"/>
                  <a:pt x="61" y="51"/>
                  <a:pt x="59" y="51"/>
                </a:cubicBezTo>
                <a:cubicBezTo>
                  <a:pt x="58" y="51"/>
                  <a:pt x="57" y="52"/>
                  <a:pt x="56" y="53"/>
                </a:cubicBezTo>
                <a:cubicBezTo>
                  <a:pt x="56" y="53"/>
                  <a:pt x="56" y="53"/>
                  <a:pt x="56" y="53"/>
                </a:cubicBezTo>
                <a:cubicBezTo>
                  <a:pt x="35" y="87"/>
                  <a:pt x="35" y="87"/>
                  <a:pt x="35" y="87"/>
                </a:cubicBezTo>
                <a:cubicBezTo>
                  <a:pt x="35" y="87"/>
                  <a:pt x="35" y="87"/>
                  <a:pt x="35" y="87"/>
                </a:cubicBezTo>
                <a:cubicBezTo>
                  <a:pt x="34" y="87"/>
                  <a:pt x="34" y="88"/>
                  <a:pt x="34" y="89"/>
                </a:cubicBezTo>
                <a:cubicBezTo>
                  <a:pt x="34" y="91"/>
                  <a:pt x="36" y="93"/>
                  <a:pt x="38" y="93"/>
                </a:cubicBezTo>
                <a:close/>
                <a:moveTo>
                  <a:pt x="59" y="63"/>
                </a:moveTo>
                <a:cubicBezTo>
                  <a:pt x="73" y="85"/>
                  <a:pt x="73" y="85"/>
                  <a:pt x="73" y="85"/>
                </a:cubicBezTo>
                <a:cubicBezTo>
                  <a:pt x="46" y="85"/>
                  <a:pt x="46" y="85"/>
                  <a:pt x="46" y="85"/>
                </a:cubicBezTo>
                <a:lnTo>
                  <a:pt x="59" y="63"/>
                </a:lnTo>
                <a:close/>
                <a:moveTo>
                  <a:pt x="127" y="119"/>
                </a:moveTo>
                <a:cubicBezTo>
                  <a:pt x="141" y="119"/>
                  <a:pt x="152" y="107"/>
                  <a:pt x="152" y="93"/>
                </a:cubicBezTo>
                <a:cubicBezTo>
                  <a:pt x="152" y="79"/>
                  <a:pt x="141" y="68"/>
                  <a:pt x="127" y="68"/>
                </a:cubicBezTo>
                <a:cubicBezTo>
                  <a:pt x="113" y="68"/>
                  <a:pt x="102" y="79"/>
                  <a:pt x="102" y="93"/>
                </a:cubicBezTo>
                <a:cubicBezTo>
                  <a:pt x="102" y="107"/>
                  <a:pt x="113" y="119"/>
                  <a:pt x="127" y="119"/>
                </a:cubicBezTo>
                <a:close/>
                <a:moveTo>
                  <a:pt x="127" y="76"/>
                </a:moveTo>
                <a:cubicBezTo>
                  <a:pt x="136" y="76"/>
                  <a:pt x="144" y="84"/>
                  <a:pt x="144" y="93"/>
                </a:cubicBezTo>
                <a:cubicBezTo>
                  <a:pt x="144" y="103"/>
                  <a:pt x="136" y="110"/>
                  <a:pt x="127" y="110"/>
                </a:cubicBezTo>
                <a:cubicBezTo>
                  <a:pt x="118" y="110"/>
                  <a:pt x="110" y="103"/>
                  <a:pt x="110" y="93"/>
                </a:cubicBezTo>
                <a:cubicBezTo>
                  <a:pt x="110" y="84"/>
                  <a:pt x="118" y="76"/>
                  <a:pt x="127" y="76"/>
                </a:cubicBezTo>
                <a:close/>
                <a:moveTo>
                  <a:pt x="177" y="9"/>
                </a:moveTo>
                <a:cubicBezTo>
                  <a:pt x="102" y="9"/>
                  <a:pt x="102" y="9"/>
                  <a:pt x="102" y="9"/>
                </a:cubicBezTo>
                <a:cubicBezTo>
                  <a:pt x="102" y="4"/>
                  <a:pt x="98" y="0"/>
                  <a:pt x="93" y="0"/>
                </a:cubicBezTo>
                <a:cubicBezTo>
                  <a:pt x="88" y="0"/>
                  <a:pt x="85" y="4"/>
                  <a:pt x="85" y="9"/>
                </a:cubicBezTo>
                <a:cubicBezTo>
                  <a:pt x="9" y="9"/>
                  <a:pt x="9" y="9"/>
                  <a:pt x="9" y="9"/>
                </a:cubicBezTo>
                <a:cubicBezTo>
                  <a:pt x="4" y="9"/>
                  <a:pt x="0" y="13"/>
                  <a:pt x="0" y="17"/>
                </a:cubicBezTo>
                <a:cubicBezTo>
                  <a:pt x="0" y="26"/>
                  <a:pt x="0" y="26"/>
                  <a:pt x="0" y="26"/>
                </a:cubicBezTo>
                <a:cubicBezTo>
                  <a:pt x="0" y="30"/>
                  <a:pt x="4" y="34"/>
                  <a:pt x="9" y="34"/>
                </a:cubicBezTo>
                <a:cubicBezTo>
                  <a:pt x="9" y="135"/>
                  <a:pt x="9" y="135"/>
                  <a:pt x="9" y="135"/>
                </a:cubicBezTo>
                <a:cubicBezTo>
                  <a:pt x="9" y="140"/>
                  <a:pt x="13" y="144"/>
                  <a:pt x="17" y="144"/>
                </a:cubicBezTo>
                <a:cubicBezTo>
                  <a:pt x="89" y="144"/>
                  <a:pt x="89" y="144"/>
                  <a:pt x="89" y="144"/>
                </a:cubicBezTo>
                <a:cubicBezTo>
                  <a:pt x="89" y="155"/>
                  <a:pt x="89" y="155"/>
                  <a:pt x="89" y="155"/>
                </a:cubicBezTo>
                <a:cubicBezTo>
                  <a:pt x="65" y="179"/>
                  <a:pt x="65" y="179"/>
                  <a:pt x="65" y="179"/>
                </a:cubicBezTo>
                <a:cubicBezTo>
                  <a:pt x="64" y="180"/>
                  <a:pt x="64" y="181"/>
                  <a:pt x="64" y="182"/>
                </a:cubicBezTo>
                <a:cubicBezTo>
                  <a:pt x="64" y="184"/>
                  <a:pt x="65" y="186"/>
                  <a:pt x="68" y="186"/>
                </a:cubicBezTo>
                <a:cubicBezTo>
                  <a:pt x="69" y="186"/>
                  <a:pt x="70" y="186"/>
                  <a:pt x="71" y="185"/>
                </a:cubicBezTo>
                <a:cubicBezTo>
                  <a:pt x="93" y="163"/>
                  <a:pt x="93" y="163"/>
                  <a:pt x="93" y="163"/>
                </a:cubicBezTo>
                <a:cubicBezTo>
                  <a:pt x="115" y="185"/>
                  <a:pt x="115" y="185"/>
                  <a:pt x="115" y="185"/>
                </a:cubicBezTo>
                <a:cubicBezTo>
                  <a:pt x="116" y="186"/>
                  <a:pt x="117" y="186"/>
                  <a:pt x="118" y="186"/>
                </a:cubicBezTo>
                <a:cubicBezTo>
                  <a:pt x="121" y="186"/>
                  <a:pt x="123" y="184"/>
                  <a:pt x="123" y="182"/>
                </a:cubicBezTo>
                <a:cubicBezTo>
                  <a:pt x="123" y="181"/>
                  <a:pt x="122" y="180"/>
                  <a:pt x="121" y="179"/>
                </a:cubicBezTo>
                <a:cubicBezTo>
                  <a:pt x="97" y="155"/>
                  <a:pt x="97" y="155"/>
                  <a:pt x="97" y="155"/>
                </a:cubicBezTo>
                <a:cubicBezTo>
                  <a:pt x="97" y="144"/>
                  <a:pt x="97" y="144"/>
                  <a:pt x="97" y="144"/>
                </a:cubicBezTo>
                <a:cubicBezTo>
                  <a:pt x="169" y="144"/>
                  <a:pt x="169" y="144"/>
                  <a:pt x="169" y="144"/>
                </a:cubicBezTo>
                <a:cubicBezTo>
                  <a:pt x="174" y="144"/>
                  <a:pt x="177" y="140"/>
                  <a:pt x="177" y="135"/>
                </a:cubicBezTo>
                <a:cubicBezTo>
                  <a:pt x="177" y="34"/>
                  <a:pt x="177" y="34"/>
                  <a:pt x="177" y="34"/>
                </a:cubicBezTo>
                <a:cubicBezTo>
                  <a:pt x="182" y="34"/>
                  <a:pt x="186" y="30"/>
                  <a:pt x="186" y="26"/>
                </a:cubicBezTo>
                <a:cubicBezTo>
                  <a:pt x="186" y="17"/>
                  <a:pt x="186" y="17"/>
                  <a:pt x="186" y="17"/>
                </a:cubicBezTo>
                <a:cubicBezTo>
                  <a:pt x="186" y="13"/>
                  <a:pt x="182" y="9"/>
                  <a:pt x="177" y="9"/>
                </a:cubicBezTo>
                <a:close/>
                <a:moveTo>
                  <a:pt x="169" y="135"/>
                </a:moveTo>
                <a:cubicBezTo>
                  <a:pt x="17" y="135"/>
                  <a:pt x="17" y="135"/>
                  <a:pt x="17" y="135"/>
                </a:cubicBezTo>
                <a:cubicBezTo>
                  <a:pt x="17" y="34"/>
                  <a:pt x="17" y="34"/>
                  <a:pt x="17" y="34"/>
                </a:cubicBezTo>
                <a:cubicBezTo>
                  <a:pt x="169" y="34"/>
                  <a:pt x="169" y="34"/>
                  <a:pt x="169" y="34"/>
                </a:cubicBezTo>
                <a:lnTo>
                  <a:pt x="169" y="135"/>
                </a:lnTo>
                <a:close/>
                <a:moveTo>
                  <a:pt x="177" y="26"/>
                </a:moveTo>
                <a:cubicBezTo>
                  <a:pt x="9" y="26"/>
                  <a:pt x="9" y="26"/>
                  <a:pt x="9" y="26"/>
                </a:cubicBezTo>
                <a:cubicBezTo>
                  <a:pt x="9" y="17"/>
                  <a:pt x="9" y="17"/>
                  <a:pt x="9" y="17"/>
                </a:cubicBezTo>
                <a:cubicBezTo>
                  <a:pt x="177" y="17"/>
                  <a:pt x="177" y="17"/>
                  <a:pt x="177" y="17"/>
                </a:cubicBezTo>
                <a:lnTo>
                  <a:pt x="177" y="26"/>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72" name="Freeform 129">
            <a:extLst>
              <a:ext uri="{FF2B5EF4-FFF2-40B4-BE49-F238E27FC236}">
                <a16:creationId xmlns:a16="http://schemas.microsoft.com/office/drawing/2014/main" id="{F98C0C71-448E-6B41-A745-A3A315247387}"/>
              </a:ext>
            </a:extLst>
          </p:cNvPr>
          <p:cNvSpPr>
            <a:spLocks noEditPoints="1"/>
          </p:cNvSpPr>
          <p:nvPr/>
        </p:nvSpPr>
        <p:spPr bwMode="auto">
          <a:xfrm>
            <a:off x="4359096" y="4951356"/>
            <a:ext cx="541788" cy="503693"/>
          </a:xfrm>
          <a:custGeom>
            <a:avLst/>
            <a:gdLst>
              <a:gd name="T0" fmla="*/ 162 w 185"/>
              <a:gd name="T1" fmla="*/ 52 h 185"/>
              <a:gd name="T2" fmla="*/ 149 w 185"/>
              <a:gd name="T3" fmla="*/ 18 h 185"/>
              <a:gd name="T4" fmla="*/ 133 w 185"/>
              <a:gd name="T5" fmla="*/ 23 h 185"/>
              <a:gd name="T6" fmla="*/ 105 w 185"/>
              <a:gd name="T7" fmla="*/ 0 h 185"/>
              <a:gd name="T8" fmla="*/ 72 w 185"/>
              <a:gd name="T9" fmla="*/ 15 h 185"/>
              <a:gd name="T10" fmla="*/ 40 w 185"/>
              <a:gd name="T11" fmla="*/ 17 h 185"/>
              <a:gd name="T12" fmla="*/ 18 w 185"/>
              <a:gd name="T13" fmla="*/ 44 h 185"/>
              <a:gd name="T14" fmla="*/ 6 w 185"/>
              <a:gd name="T15" fmla="*/ 74 h 185"/>
              <a:gd name="T16" fmla="*/ 6 w 185"/>
              <a:gd name="T17" fmla="*/ 111 h 185"/>
              <a:gd name="T18" fmla="*/ 18 w 185"/>
              <a:gd name="T19" fmla="*/ 141 h 185"/>
              <a:gd name="T20" fmla="*/ 39 w 185"/>
              <a:gd name="T21" fmla="*/ 168 h 185"/>
              <a:gd name="T22" fmla="*/ 72 w 185"/>
              <a:gd name="T23" fmla="*/ 170 h 185"/>
              <a:gd name="T24" fmla="*/ 105 w 185"/>
              <a:gd name="T25" fmla="*/ 185 h 185"/>
              <a:gd name="T26" fmla="*/ 133 w 185"/>
              <a:gd name="T27" fmla="*/ 162 h 185"/>
              <a:gd name="T28" fmla="*/ 149 w 185"/>
              <a:gd name="T29" fmla="*/ 167 h 185"/>
              <a:gd name="T30" fmla="*/ 162 w 185"/>
              <a:gd name="T31" fmla="*/ 133 h 185"/>
              <a:gd name="T32" fmla="*/ 185 w 185"/>
              <a:gd name="T33" fmla="*/ 105 h 185"/>
              <a:gd name="T34" fmla="*/ 177 w 185"/>
              <a:gd name="T35" fmla="*/ 103 h 185"/>
              <a:gd name="T36" fmla="*/ 162 w 185"/>
              <a:gd name="T37" fmla="*/ 111 h 185"/>
              <a:gd name="T38" fmla="*/ 160 w 185"/>
              <a:gd name="T39" fmla="*/ 145 h 185"/>
              <a:gd name="T40" fmla="*/ 137 w 185"/>
              <a:gd name="T41" fmla="*/ 155 h 185"/>
              <a:gd name="T42" fmla="*/ 111 w 185"/>
              <a:gd name="T43" fmla="*/ 162 h 185"/>
              <a:gd name="T44" fmla="*/ 103 w 185"/>
              <a:gd name="T45" fmla="*/ 177 h 185"/>
              <a:gd name="T46" fmla="*/ 74 w 185"/>
              <a:gd name="T47" fmla="*/ 162 h 185"/>
              <a:gd name="T48" fmla="*/ 48 w 185"/>
              <a:gd name="T49" fmla="*/ 155 h 185"/>
              <a:gd name="T50" fmla="*/ 26 w 185"/>
              <a:gd name="T51" fmla="*/ 145 h 185"/>
              <a:gd name="T52" fmla="*/ 23 w 185"/>
              <a:gd name="T53" fmla="*/ 111 h 185"/>
              <a:gd name="T54" fmla="*/ 8 w 185"/>
              <a:gd name="T55" fmla="*/ 103 h 185"/>
              <a:gd name="T56" fmla="*/ 23 w 185"/>
              <a:gd name="T57" fmla="*/ 74 h 185"/>
              <a:gd name="T58" fmla="*/ 26 w 185"/>
              <a:gd name="T59" fmla="*/ 40 h 185"/>
              <a:gd name="T60" fmla="*/ 48 w 185"/>
              <a:gd name="T61" fmla="*/ 30 h 185"/>
              <a:gd name="T62" fmla="*/ 74 w 185"/>
              <a:gd name="T63" fmla="*/ 23 h 185"/>
              <a:gd name="T64" fmla="*/ 103 w 185"/>
              <a:gd name="T65" fmla="*/ 8 h 185"/>
              <a:gd name="T66" fmla="*/ 111 w 185"/>
              <a:gd name="T67" fmla="*/ 23 h 185"/>
              <a:gd name="T68" fmla="*/ 137 w 185"/>
              <a:gd name="T69" fmla="*/ 30 h 185"/>
              <a:gd name="T70" fmla="*/ 160 w 185"/>
              <a:gd name="T71" fmla="*/ 40 h 185"/>
              <a:gd name="T72" fmla="*/ 162 w 185"/>
              <a:gd name="T73" fmla="*/ 74 h 185"/>
              <a:gd name="T74" fmla="*/ 177 w 185"/>
              <a:gd name="T75" fmla="*/ 103 h 185"/>
              <a:gd name="T76" fmla="*/ 93 w 185"/>
              <a:gd name="T77" fmla="*/ 143 h 185"/>
              <a:gd name="T78" fmla="*/ 93 w 185"/>
              <a:gd name="T79" fmla="*/ 50 h 185"/>
              <a:gd name="T80" fmla="*/ 93 w 185"/>
              <a:gd name="T81" fmla="*/ 76 h 185"/>
              <a:gd name="T82" fmla="*/ 93 w 185"/>
              <a:gd name="T83" fmla="*/ 50 h 185"/>
              <a:gd name="T84" fmla="*/ 54 w 185"/>
              <a:gd name="T85" fmla="*/ 76 h 185"/>
              <a:gd name="T86" fmla="*/ 88 w 185"/>
              <a:gd name="T87" fmla="*/ 109 h 185"/>
              <a:gd name="T88" fmla="*/ 93 w 185"/>
              <a:gd name="T89" fmla="*/ 84 h 185"/>
              <a:gd name="T90" fmla="*/ 84 w 185"/>
              <a:gd name="T91" fmla="*/ 93 h 185"/>
              <a:gd name="T92" fmla="*/ 97 w 185"/>
              <a:gd name="T93" fmla="*/ 109 h 185"/>
              <a:gd name="T94" fmla="*/ 131 w 185"/>
              <a:gd name="T95" fmla="*/ 7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5" h="185">
                <a:moveTo>
                  <a:pt x="179" y="74"/>
                </a:moveTo>
                <a:cubicBezTo>
                  <a:pt x="170" y="72"/>
                  <a:pt x="170" y="72"/>
                  <a:pt x="170" y="72"/>
                </a:cubicBezTo>
                <a:cubicBezTo>
                  <a:pt x="168" y="65"/>
                  <a:pt x="166" y="58"/>
                  <a:pt x="162" y="52"/>
                </a:cubicBezTo>
                <a:cubicBezTo>
                  <a:pt x="167" y="44"/>
                  <a:pt x="167" y="44"/>
                  <a:pt x="167" y="44"/>
                </a:cubicBezTo>
                <a:cubicBezTo>
                  <a:pt x="168" y="42"/>
                  <a:pt x="169" y="38"/>
                  <a:pt x="167" y="36"/>
                </a:cubicBezTo>
                <a:cubicBezTo>
                  <a:pt x="149" y="18"/>
                  <a:pt x="149" y="18"/>
                  <a:pt x="149" y="18"/>
                </a:cubicBezTo>
                <a:cubicBezTo>
                  <a:pt x="148" y="17"/>
                  <a:pt x="147" y="17"/>
                  <a:pt x="146" y="17"/>
                </a:cubicBezTo>
                <a:cubicBezTo>
                  <a:pt x="144" y="17"/>
                  <a:pt x="142" y="17"/>
                  <a:pt x="141" y="18"/>
                </a:cubicBezTo>
                <a:cubicBezTo>
                  <a:pt x="133" y="23"/>
                  <a:pt x="133" y="23"/>
                  <a:pt x="133" y="23"/>
                </a:cubicBezTo>
                <a:cubicBezTo>
                  <a:pt x="127" y="19"/>
                  <a:pt x="120" y="17"/>
                  <a:pt x="113" y="15"/>
                </a:cubicBezTo>
                <a:cubicBezTo>
                  <a:pt x="111" y="6"/>
                  <a:pt x="111" y="6"/>
                  <a:pt x="111" y="6"/>
                </a:cubicBezTo>
                <a:cubicBezTo>
                  <a:pt x="110" y="3"/>
                  <a:pt x="108" y="0"/>
                  <a:pt x="105" y="0"/>
                </a:cubicBezTo>
                <a:cubicBezTo>
                  <a:pt x="80" y="0"/>
                  <a:pt x="80" y="0"/>
                  <a:pt x="80" y="0"/>
                </a:cubicBezTo>
                <a:cubicBezTo>
                  <a:pt x="77" y="0"/>
                  <a:pt x="75" y="3"/>
                  <a:pt x="74" y="6"/>
                </a:cubicBezTo>
                <a:cubicBezTo>
                  <a:pt x="72" y="15"/>
                  <a:pt x="72" y="15"/>
                  <a:pt x="72" y="15"/>
                </a:cubicBezTo>
                <a:cubicBezTo>
                  <a:pt x="65" y="17"/>
                  <a:pt x="58" y="19"/>
                  <a:pt x="52" y="23"/>
                </a:cubicBezTo>
                <a:cubicBezTo>
                  <a:pt x="44" y="18"/>
                  <a:pt x="44" y="18"/>
                  <a:pt x="44" y="18"/>
                </a:cubicBezTo>
                <a:cubicBezTo>
                  <a:pt x="43" y="17"/>
                  <a:pt x="41" y="17"/>
                  <a:pt x="40" y="17"/>
                </a:cubicBezTo>
                <a:cubicBezTo>
                  <a:pt x="38" y="17"/>
                  <a:pt x="37" y="17"/>
                  <a:pt x="36" y="18"/>
                </a:cubicBezTo>
                <a:cubicBezTo>
                  <a:pt x="18" y="36"/>
                  <a:pt x="18" y="36"/>
                  <a:pt x="18" y="36"/>
                </a:cubicBezTo>
                <a:cubicBezTo>
                  <a:pt x="16" y="38"/>
                  <a:pt x="17" y="42"/>
                  <a:pt x="18" y="44"/>
                </a:cubicBezTo>
                <a:cubicBezTo>
                  <a:pt x="23" y="52"/>
                  <a:pt x="23" y="52"/>
                  <a:pt x="23" y="52"/>
                </a:cubicBezTo>
                <a:cubicBezTo>
                  <a:pt x="19" y="58"/>
                  <a:pt x="17" y="65"/>
                  <a:pt x="15" y="72"/>
                </a:cubicBezTo>
                <a:cubicBezTo>
                  <a:pt x="6" y="74"/>
                  <a:pt x="6" y="74"/>
                  <a:pt x="6" y="74"/>
                </a:cubicBezTo>
                <a:cubicBezTo>
                  <a:pt x="3" y="75"/>
                  <a:pt x="0" y="77"/>
                  <a:pt x="0" y="80"/>
                </a:cubicBezTo>
                <a:cubicBezTo>
                  <a:pt x="0" y="105"/>
                  <a:pt x="0" y="105"/>
                  <a:pt x="0" y="105"/>
                </a:cubicBezTo>
                <a:cubicBezTo>
                  <a:pt x="0" y="108"/>
                  <a:pt x="3" y="110"/>
                  <a:pt x="6" y="111"/>
                </a:cubicBezTo>
                <a:cubicBezTo>
                  <a:pt x="15" y="113"/>
                  <a:pt x="15" y="113"/>
                  <a:pt x="15" y="113"/>
                </a:cubicBezTo>
                <a:cubicBezTo>
                  <a:pt x="17" y="120"/>
                  <a:pt x="19" y="127"/>
                  <a:pt x="23" y="133"/>
                </a:cubicBezTo>
                <a:cubicBezTo>
                  <a:pt x="18" y="141"/>
                  <a:pt x="18" y="141"/>
                  <a:pt x="18" y="141"/>
                </a:cubicBezTo>
                <a:cubicBezTo>
                  <a:pt x="17" y="143"/>
                  <a:pt x="16" y="147"/>
                  <a:pt x="18" y="149"/>
                </a:cubicBezTo>
                <a:cubicBezTo>
                  <a:pt x="36" y="167"/>
                  <a:pt x="36" y="167"/>
                  <a:pt x="36" y="167"/>
                </a:cubicBezTo>
                <a:cubicBezTo>
                  <a:pt x="37" y="168"/>
                  <a:pt x="38" y="168"/>
                  <a:pt x="39" y="168"/>
                </a:cubicBezTo>
                <a:cubicBezTo>
                  <a:pt x="41" y="168"/>
                  <a:pt x="43" y="168"/>
                  <a:pt x="44" y="167"/>
                </a:cubicBezTo>
                <a:cubicBezTo>
                  <a:pt x="52" y="162"/>
                  <a:pt x="52" y="162"/>
                  <a:pt x="52" y="162"/>
                </a:cubicBezTo>
                <a:cubicBezTo>
                  <a:pt x="58" y="166"/>
                  <a:pt x="65" y="168"/>
                  <a:pt x="72" y="170"/>
                </a:cubicBezTo>
                <a:cubicBezTo>
                  <a:pt x="74" y="179"/>
                  <a:pt x="74" y="179"/>
                  <a:pt x="74" y="179"/>
                </a:cubicBezTo>
                <a:cubicBezTo>
                  <a:pt x="75" y="182"/>
                  <a:pt x="77" y="185"/>
                  <a:pt x="80" y="185"/>
                </a:cubicBezTo>
                <a:cubicBezTo>
                  <a:pt x="105" y="185"/>
                  <a:pt x="105" y="185"/>
                  <a:pt x="105" y="185"/>
                </a:cubicBezTo>
                <a:cubicBezTo>
                  <a:pt x="108" y="185"/>
                  <a:pt x="110" y="182"/>
                  <a:pt x="111" y="179"/>
                </a:cubicBezTo>
                <a:cubicBezTo>
                  <a:pt x="113" y="170"/>
                  <a:pt x="113" y="170"/>
                  <a:pt x="113" y="170"/>
                </a:cubicBezTo>
                <a:cubicBezTo>
                  <a:pt x="120" y="168"/>
                  <a:pt x="127" y="166"/>
                  <a:pt x="133" y="162"/>
                </a:cubicBezTo>
                <a:cubicBezTo>
                  <a:pt x="141" y="167"/>
                  <a:pt x="141" y="167"/>
                  <a:pt x="141" y="167"/>
                </a:cubicBezTo>
                <a:cubicBezTo>
                  <a:pt x="142" y="168"/>
                  <a:pt x="144" y="168"/>
                  <a:pt x="146" y="168"/>
                </a:cubicBezTo>
                <a:cubicBezTo>
                  <a:pt x="147" y="168"/>
                  <a:pt x="148" y="168"/>
                  <a:pt x="149" y="167"/>
                </a:cubicBezTo>
                <a:cubicBezTo>
                  <a:pt x="167" y="149"/>
                  <a:pt x="167" y="149"/>
                  <a:pt x="167" y="149"/>
                </a:cubicBezTo>
                <a:cubicBezTo>
                  <a:pt x="169" y="147"/>
                  <a:pt x="169" y="143"/>
                  <a:pt x="167" y="141"/>
                </a:cubicBezTo>
                <a:cubicBezTo>
                  <a:pt x="162" y="133"/>
                  <a:pt x="162" y="133"/>
                  <a:pt x="162" y="133"/>
                </a:cubicBezTo>
                <a:cubicBezTo>
                  <a:pt x="166" y="127"/>
                  <a:pt x="168" y="120"/>
                  <a:pt x="170" y="113"/>
                </a:cubicBezTo>
                <a:cubicBezTo>
                  <a:pt x="179" y="111"/>
                  <a:pt x="179" y="111"/>
                  <a:pt x="179" y="111"/>
                </a:cubicBezTo>
                <a:cubicBezTo>
                  <a:pt x="182" y="110"/>
                  <a:pt x="185" y="108"/>
                  <a:pt x="185" y="105"/>
                </a:cubicBezTo>
                <a:cubicBezTo>
                  <a:pt x="185" y="80"/>
                  <a:pt x="185" y="80"/>
                  <a:pt x="185" y="80"/>
                </a:cubicBezTo>
                <a:cubicBezTo>
                  <a:pt x="185" y="77"/>
                  <a:pt x="182" y="75"/>
                  <a:pt x="179" y="74"/>
                </a:cubicBezTo>
                <a:close/>
                <a:moveTo>
                  <a:pt x="177" y="103"/>
                </a:moveTo>
                <a:cubicBezTo>
                  <a:pt x="177" y="103"/>
                  <a:pt x="177" y="103"/>
                  <a:pt x="177" y="103"/>
                </a:cubicBezTo>
                <a:cubicBezTo>
                  <a:pt x="168" y="105"/>
                  <a:pt x="168" y="105"/>
                  <a:pt x="168" y="105"/>
                </a:cubicBezTo>
                <a:cubicBezTo>
                  <a:pt x="165" y="106"/>
                  <a:pt x="163" y="108"/>
                  <a:pt x="162" y="111"/>
                </a:cubicBezTo>
                <a:cubicBezTo>
                  <a:pt x="161" y="117"/>
                  <a:pt x="158" y="123"/>
                  <a:pt x="155" y="129"/>
                </a:cubicBezTo>
                <a:cubicBezTo>
                  <a:pt x="153" y="131"/>
                  <a:pt x="153" y="134"/>
                  <a:pt x="155" y="137"/>
                </a:cubicBezTo>
                <a:cubicBezTo>
                  <a:pt x="160" y="145"/>
                  <a:pt x="160" y="145"/>
                  <a:pt x="160" y="145"/>
                </a:cubicBezTo>
                <a:cubicBezTo>
                  <a:pt x="145" y="160"/>
                  <a:pt x="145" y="160"/>
                  <a:pt x="145" y="160"/>
                </a:cubicBezTo>
                <a:cubicBezTo>
                  <a:pt x="145" y="160"/>
                  <a:pt x="145" y="160"/>
                  <a:pt x="145" y="160"/>
                </a:cubicBezTo>
                <a:cubicBezTo>
                  <a:pt x="137" y="155"/>
                  <a:pt x="137" y="155"/>
                  <a:pt x="137" y="155"/>
                </a:cubicBezTo>
                <a:cubicBezTo>
                  <a:pt x="136" y="154"/>
                  <a:pt x="134" y="154"/>
                  <a:pt x="133" y="154"/>
                </a:cubicBezTo>
                <a:cubicBezTo>
                  <a:pt x="131" y="154"/>
                  <a:pt x="130" y="154"/>
                  <a:pt x="129" y="155"/>
                </a:cubicBezTo>
                <a:cubicBezTo>
                  <a:pt x="123" y="158"/>
                  <a:pt x="117" y="160"/>
                  <a:pt x="111" y="162"/>
                </a:cubicBezTo>
                <a:cubicBezTo>
                  <a:pt x="108" y="163"/>
                  <a:pt x="106" y="165"/>
                  <a:pt x="105" y="168"/>
                </a:cubicBezTo>
                <a:cubicBezTo>
                  <a:pt x="103" y="177"/>
                  <a:pt x="103" y="177"/>
                  <a:pt x="103" y="177"/>
                </a:cubicBezTo>
                <a:cubicBezTo>
                  <a:pt x="103" y="177"/>
                  <a:pt x="103" y="177"/>
                  <a:pt x="103" y="177"/>
                </a:cubicBezTo>
                <a:cubicBezTo>
                  <a:pt x="82" y="177"/>
                  <a:pt x="82" y="177"/>
                  <a:pt x="82" y="177"/>
                </a:cubicBezTo>
                <a:cubicBezTo>
                  <a:pt x="80" y="168"/>
                  <a:pt x="80" y="168"/>
                  <a:pt x="80" y="168"/>
                </a:cubicBezTo>
                <a:cubicBezTo>
                  <a:pt x="79" y="165"/>
                  <a:pt x="77" y="163"/>
                  <a:pt x="74" y="162"/>
                </a:cubicBezTo>
                <a:cubicBezTo>
                  <a:pt x="68" y="160"/>
                  <a:pt x="62" y="158"/>
                  <a:pt x="57" y="155"/>
                </a:cubicBezTo>
                <a:cubicBezTo>
                  <a:pt x="55" y="154"/>
                  <a:pt x="54" y="154"/>
                  <a:pt x="52" y="154"/>
                </a:cubicBezTo>
                <a:cubicBezTo>
                  <a:pt x="51" y="154"/>
                  <a:pt x="49" y="154"/>
                  <a:pt x="48" y="155"/>
                </a:cubicBezTo>
                <a:cubicBezTo>
                  <a:pt x="40" y="160"/>
                  <a:pt x="40" y="160"/>
                  <a:pt x="40" y="160"/>
                </a:cubicBezTo>
                <a:cubicBezTo>
                  <a:pt x="40" y="160"/>
                  <a:pt x="40" y="160"/>
                  <a:pt x="40" y="160"/>
                </a:cubicBezTo>
                <a:cubicBezTo>
                  <a:pt x="26" y="145"/>
                  <a:pt x="26" y="145"/>
                  <a:pt x="26" y="145"/>
                </a:cubicBezTo>
                <a:cubicBezTo>
                  <a:pt x="30" y="137"/>
                  <a:pt x="30" y="137"/>
                  <a:pt x="30" y="137"/>
                </a:cubicBezTo>
                <a:cubicBezTo>
                  <a:pt x="32" y="134"/>
                  <a:pt x="32" y="131"/>
                  <a:pt x="30" y="129"/>
                </a:cubicBezTo>
                <a:cubicBezTo>
                  <a:pt x="27" y="123"/>
                  <a:pt x="25" y="117"/>
                  <a:pt x="23" y="111"/>
                </a:cubicBezTo>
                <a:cubicBezTo>
                  <a:pt x="22" y="108"/>
                  <a:pt x="20" y="106"/>
                  <a:pt x="17" y="105"/>
                </a:cubicBezTo>
                <a:cubicBezTo>
                  <a:pt x="8" y="103"/>
                  <a:pt x="8" y="103"/>
                  <a:pt x="8" y="103"/>
                </a:cubicBezTo>
                <a:cubicBezTo>
                  <a:pt x="8" y="103"/>
                  <a:pt x="8" y="103"/>
                  <a:pt x="8" y="103"/>
                </a:cubicBezTo>
                <a:cubicBezTo>
                  <a:pt x="8" y="82"/>
                  <a:pt x="8" y="82"/>
                  <a:pt x="8" y="82"/>
                </a:cubicBezTo>
                <a:cubicBezTo>
                  <a:pt x="17" y="80"/>
                  <a:pt x="17" y="80"/>
                  <a:pt x="17" y="80"/>
                </a:cubicBezTo>
                <a:cubicBezTo>
                  <a:pt x="20" y="79"/>
                  <a:pt x="22" y="77"/>
                  <a:pt x="23" y="74"/>
                </a:cubicBezTo>
                <a:cubicBezTo>
                  <a:pt x="25" y="68"/>
                  <a:pt x="27" y="62"/>
                  <a:pt x="30" y="57"/>
                </a:cubicBezTo>
                <a:cubicBezTo>
                  <a:pt x="32" y="54"/>
                  <a:pt x="32" y="51"/>
                  <a:pt x="30" y="48"/>
                </a:cubicBezTo>
                <a:cubicBezTo>
                  <a:pt x="26" y="40"/>
                  <a:pt x="26" y="40"/>
                  <a:pt x="26" y="40"/>
                </a:cubicBezTo>
                <a:cubicBezTo>
                  <a:pt x="26" y="40"/>
                  <a:pt x="26" y="40"/>
                  <a:pt x="26" y="40"/>
                </a:cubicBezTo>
                <a:cubicBezTo>
                  <a:pt x="40" y="26"/>
                  <a:pt x="40" y="26"/>
                  <a:pt x="40" y="26"/>
                </a:cubicBezTo>
                <a:cubicBezTo>
                  <a:pt x="48" y="30"/>
                  <a:pt x="48" y="30"/>
                  <a:pt x="48" y="30"/>
                </a:cubicBezTo>
                <a:cubicBezTo>
                  <a:pt x="49" y="31"/>
                  <a:pt x="51" y="31"/>
                  <a:pt x="52" y="31"/>
                </a:cubicBezTo>
                <a:cubicBezTo>
                  <a:pt x="54" y="31"/>
                  <a:pt x="55" y="31"/>
                  <a:pt x="57" y="30"/>
                </a:cubicBezTo>
                <a:cubicBezTo>
                  <a:pt x="62" y="27"/>
                  <a:pt x="68" y="25"/>
                  <a:pt x="74" y="23"/>
                </a:cubicBezTo>
                <a:cubicBezTo>
                  <a:pt x="77" y="22"/>
                  <a:pt x="79" y="20"/>
                  <a:pt x="80" y="17"/>
                </a:cubicBezTo>
                <a:cubicBezTo>
                  <a:pt x="82" y="8"/>
                  <a:pt x="82" y="8"/>
                  <a:pt x="82" y="8"/>
                </a:cubicBezTo>
                <a:cubicBezTo>
                  <a:pt x="103" y="8"/>
                  <a:pt x="103" y="8"/>
                  <a:pt x="103" y="8"/>
                </a:cubicBezTo>
                <a:cubicBezTo>
                  <a:pt x="103" y="8"/>
                  <a:pt x="103" y="8"/>
                  <a:pt x="103" y="8"/>
                </a:cubicBezTo>
                <a:cubicBezTo>
                  <a:pt x="105" y="17"/>
                  <a:pt x="105" y="17"/>
                  <a:pt x="105" y="17"/>
                </a:cubicBezTo>
                <a:cubicBezTo>
                  <a:pt x="106" y="20"/>
                  <a:pt x="108" y="22"/>
                  <a:pt x="111" y="23"/>
                </a:cubicBezTo>
                <a:cubicBezTo>
                  <a:pt x="117" y="25"/>
                  <a:pt x="123" y="27"/>
                  <a:pt x="129" y="30"/>
                </a:cubicBezTo>
                <a:cubicBezTo>
                  <a:pt x="130" y="31"/>
                  <a:pt x="131" y="31"/>
                  <a:pt x="133" y="31"/>
                </a:cubicBezTo>
                <a:cubicBezTo>
                  <a:pt x="134" y="31"/>
                  <a:pt x="136" y="31"/>
                  <a:pt x="137" y="30"/>
                </a:cubicBezTo>
                <a:cubicBezTo>
                  <a:pt x="145" y="26"/>
                  <a:pt x="145" y="26"/>
                  <a:pt x="145" y="26"/>
                </a:cubicBezTo>
                <a:cubicBezTo>
                  <a:pt x="160" y="40"/>
                  <a:pt x="160" y="40"/>
                  <a:pt x="160" y="40"/>
                </a:cubicBezTo>
                <a:cubicBezTo>
                  <a:pt x="160" y="40"/>
                  <a:pt x="160" y="40"/>
                  <a:pt x="160" y="40"/>
                </a:cubicBezTo>
                <a:cubicBezTo>
                  <a:pt x="155" y="48"/>
                  <a:pt x="155" y="48"/>
                  <a:pt x="155" y="48"/>
                </a:cubicBezTo>
                <a:cubicBezTo>
                  <a:pt x="153" y="51"/>
                  <a:pt x="153" y="54"/>
                  <a:pt x="155" y="57"/>
                </a:cubicBezTo>
                <a:cubicBezTo>
                  <a:pt x="158" y="62"/>
                  <a:pt x="161" y="68"/>
                  <a:pt x="162" y="74"/>
                </a:cubicBezTo>
                <a:cubicBezTo>
                  <a:pt x="163" y="77"/>
                  <a:pt x="165" y="79"/>
                  <a:pt x="168" y="80"/>
                </a:cubicBezTo>
                <a:cubicBezTo>
                  <a:pt x="177" y="82"/>
                  <a:pt x="177" y="82"/>
                  <a:pt x="177" y="82"/>
                </a:cubicBezTo>
                <a:lnTo>
                  <a:pt x="177" y="103"/>
                </a:lnTo>
                <a:close/>
                <a:moveTo>
                  <a:pt x="93" y="42"/>
                </a:moveTo>
                <a:cubicBezTo>
                  <a:pt x="65" y="42"/>
                  <a:pt x="42" y="65"/>
                  <a:pt x="42" y="93"/>
                </a:cubicBezTo>
                <a:cubicBezTo>
                  <a:pt x="42" y="120"/>
                  <a:pt x="65" y="143"/>
                  <a:pt x="93" y="143"/>
                </a:cubicBezTo>
                <a:cubicBezTo>
                  <a:pt x="121" y="143"/>
                  <a:pt x="143" y="120"/>
                  <a:pt x="143" y="93"/>
                </a:cubicBezTo>
                <a:cubicBezTo>
                  <a:pt x="143" y="65"/>
                  <a:pt x="121" y="42"/>
                  <a:pt x="93" y="42"/>
                </a:cubicBezTo>
                <a:close/>
                <a:moveTo>
                  <a:pt x="93" y="50"/>
                </a:moveTo>
                <a:cubicBezTo>
                  <a:pt x="107" y="50"/>
                  <a:pt x="120" y="58"/>
                  <a:pt x="127" y="68"/>
                </a:cubicBezTo>
                <a:cubicBezTo>
                  <a:pt x="105" y="81"/>
                  <a:pt x="105" y="81"/>
                  <a:pt x="105" y="81"/>
                </a:cubicBezTo>
                <a:cubicBezTo>
                  <a:pt x="102" y="78"/>
                  <a:pt x="97" y="76"/>
                  <a:pt x="93" y="76"/>
                </a:cubicBezTo>
                <a:cubicBezTo>
                  <a:pt x="88" y="76"/>
                  <a:pt x="83" y="78"/>
                  <a:pt x="80" y="81"/>
                </a:cubicBezTo>
                <a:cubicBezTo>
                  <a:pt x="58" y="68"/>
                  <a:pt x="58" y="68"/>
                  <a:pt x="58" y="68"/>
                </a:cubicBezTo>
                <a:cubicBezTo>
                  <a:pt x="66" y="58"/>
                  <a:pt x="78" y="50"/>
                  <a:pt x="93" y="50"/>
                </a:cubicBezTo>
                <a:close/>
                <a:moveTo>
                  <a:pt x="88" y="135"/>
                </a:moveTo>
                <a:cubicBezTo>
                  <a:pt x="67" y="132"/>
                  <a:pt x="50" y="114"/>
                  <a:pt x="50" y="93"/>
                </a:cubicBezTo>
                <a:cubicBezTo>
                  <a:pt x="50" y="87"/>
                  <a:pt x="52" y="81"/>
                  <a:pt x="54" y="76"/>
                </a:cubicBezTo>
                <a:cubicBezTo>
                  <a:pt x="76" y="88"/>
                  <a:pt x="76" y="88"/>
                  <a:pt x="76" y="88"/>
                </a:cubicBezTo>
                <a:cubicBezTo>
                  <a:pt x="76" y="90"/>
                  <a:pt x="76" y="91"/>
                  <a:pt x="76" y="93"/>
                </a:cubicBezTo>
                <a:cubicBezTo>
                  <a:pt x="76" y="100"/>
                  <a:pt x="81" y="107"/>
                  <a:pt x="88" y="109"/>
                </a:cubicBezTo>
                <a:lnTo>
                  <a:pt x="88" y="135"/>
                </a:lnTo>
                <a:close/>
                <a:moveTo>
                  <a:pt x="84" y="93"/>
                </a:moveTo>
                <a:cubicBezTo>
                  <a:pt x="84" y="88"/>
                  <a:pt x="88" y="84"/>
                  <a:pt x="93" y="84"/>
                </a:cubicBezTo>
                <a:cubicBezTo>
                  <a:pt x="97" y="84"/>
                  <a:pt x="101" y="88"/>
                  <a:pt x="101" y="93"/>
                </a:cubicBezTo>
                <a:cubicBezTo>
                  <a:pt x="101" y="97"/>
                  <a:pt x="97" y="101"/>
                  <a:pt x="93" y="101"/>
                </a:cubicBezTo>
                <a:cubicBezTo>
                  <a:pt x="88" y="101"/>
                  <a:pt x="84" y="97"/>
                  <a:pt x="84" y="93"/>
                </a:cubicBezTo>
                <a:close/>
                <a:moveTo>
                  <a:pt x="135" y="93"/>
                </a:moveTo>
                <a:cubicBezTo>
                  <a:pt x="135" y="114"/>
                  <a:pt x="118" y="132"/>
                  <a:pt x="97" y="135"/>
                </a:cubicBezTo>
                <a:cubicBezTo>
                  <a:pt x="97" y="109"/>
                  <a:pt x="97" y="109"/>
                  <a:pt x="97" y="109"/>
                </a:cubicBezTo>
                <a:cubicBezTo>
                  <a:pt x="104" y="107"/>
                  <a:pt x="109" y="100"/>
                  <a:pt x="109" y="93"/>
                </a:cubicBezTo>
                <a:cubicBezTo>
                  <a:pt x="109" y="91"/>
                  <a:pt x="109" y="90"/>
                  <a:pt x="109" y="88"/>
                </a:cubicBezTo>
                <a:cubicBezTo>
                  <a:pt x="131" y="76"/>
                  <a:pt x="131" y="76"/>
                  <a:pt x="131" y="76"/>
                </a:cubicBezTo>
                <a:cubicBezTo>
                  <a:pt x="134" y="81"/>
                  <a:pt x="135" y="87"/>
                  <a:pt x="135" y="93"/>
                </a:cubicBezTo>
                <a:close/>
              </a:path>
            </a:pathLst>
          </a:custGeom>
          <a:solidFill>
            <a:schemeClr val="bg1"/>
          </a:solidFill>
          <a:ln>
            <a:noFill/>
          </a:ln>
        </p:spPr>
        <p:txBody>
          <a:bodyPr vert="horz" wrap="square" lIns="100602" tIns="50304" rIns="100602" bIns="50304" numCol="1" anchor="t" anchorCtr="0" compatLnSpc="1">
            <a:prstTxWarp prst="textNoShape">
              <a:avLst/>
            </a:prstTxWarp>
          </a:bodyPr>
          <a:lstStyle/>
          <a:p>
            <a:endParaRPr lang="en-US" sz="1981"/>
          </a:p>
        </p:txBody>
      </p:sp>
    </p:spTree>
    <p:extLst>
      <p:ext uri="{BB962C8B-B14F-4D97-AF65-F5344CB8AC3E}">
        <p14:creationId xmlns:p14="http://schemas.microsoft.com/office/powerpoint/2010/main" val="20390040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F8E01B9D-5B0D-ED48-93FD-8B9F129C122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179"/>
          <a:stretch/>
        </p:blipFill>
        <p:spPr>
          <a:xfrm>
            <a:off x="-23924" y="220711"/>
            <a:ext cx="12384090" cy="1452195"/>
          </a:xfrm>
          <a:prstGeom prst="rect">
            <a:avLst/>
          </a:prstGeom>
        </p:spPr>
      </p:pic>
      <p:sp>
        <p:nvSpPr>
          <p:cNvPr id="53" name="Rectangle 21">
            <a:extLst>
              <a:ext uri="{FF2B5EF4-FFF2-40B4-BE49-F238E27FC236}">
                <a16:creationId xmlns:a16="http://schemas.microsoft.com/office/drawing/2014/main" id="{66D3B711-11C4-0A42-9372-FA79243F9672}"/>
              </a:ext>
            </a:extLst>
          </p:cNvPr>
          <p:cNvSpPr/>
          <p:nvPr/>
        </p:nvSpPr>
        <p:spPr bwMode="auto">
          <a:xfrm>
            <a:off x="-23925" y="209637"/>
            <a:ext cx="12239849" cy="1452196"/>
          </a:xfrm>
          <a:prstGeom prst="rect">
            <a:avLst/>
          </a:prstGeom>
          <a:solidFill>
            <a:schemeClr val="tx2">
              <a:lumMod val="60000"/>
              <a:lumOff val="40000"/>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2" name="Titel 1">
            <a:extLst>
              <a:ext uri="{FF2B5EF4-FFF2-40B4-BE49-F238E27FC236}">
                <a16:creationId xmlns:a16="http://schemas.microsoft.com/office/drawing/2014/main" id="{8DBD732E-255D-5641-835F-7822FEFB1A84}"/>
              </a:ext>
            </a:extLst>
          </p:cNvPr>
          <p:cNvSpPr>
            <a:spLocks noGrp="1"/>
          </p:cNvSpPr>
          <p:nvPr>
            <p:ph type="title"/>
          </p:nvPr>
        </p:nvSpPr>
        <p:spPr>
          <a:xfrm>
            <a:off x="373172" y="771272"/>
            <a:ext cx="11445656" cy="797082"/>
          </a:xfrm>
        </p:spPr>
        <p:txBody>
          <a:bodyPr/>
          <a:lstStyle/>
          <a:p>
            <a:r>
              <a:rPr lang="de-DE" dirty="0">
                <a:solidFill>
                  <a:schemeClr val="bg1"/>
                </a:solidFill>
                <a:latin typeface="Tahoma" panose="020B0604030504040204" pitchFamily="34" charset="0"/>
                <a:ea typeface="Tahoma" panose="020B0604030504040204" pitchFamily="34" charset="0"/>
                <a:cs typeface="Tahoma" panose="020B0604030504040204" pitchFamily="34" charset="0"/>
              </a:rPr>
              <a:t>Sprachförderung und </a:t>
            </a:r>
            <a:r>
              <a:rPr lang="de-DE" dirty="0" err="1">
                <a:solidFill>
                  <a:schemeClr val="bg1"/>
                </a:solidFill>
                <a:latin typeface="Tahoma" panose="020B0604030504040204" pitchFamily="34" charset="0"/>
                <a:ea typeface="Tahoma" panose="020B0604030504040204" pitchFamily="34" charset="0"/>
                <a:cs typeface="Tahoma" panose="020B0604030504040204" pitchFamily="34" charset="0"/>
              </a:rPr>
              <a:t>Sprachstandsfeststellung</a:t>
            </a:r>
            <a:endParaRPr lang="de-DE"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 name="Textplatzhalter 2">
            <a:extLst>
              <a:ext uri="{FF2B5EF4-FFF2-40B4-BE49-F238E27FC236}">
                <a16:creationId xmlns:a16="http://schemas.microsoft.com/office/drawing/2014/main" id="{372F9084-4CAF-5A4B-B2B8-887F658B4A98}"/>
              </a:ext>
            </a:extLst>
          </p:cNvPr>
          <p:cNvSpPr>
            <a:spLocks noGrp="1"/>
          </p:cNvSpPr>
          <p:nvPr>
            <p:ph type="body" sz="quarter" idx="10"/>
          </p:nvPr>
        </p:nvSpPr>
        <p:spPr>
          <a:xfrm>
            <a:off x="373172" y="369140"/>
            <a:ext cx="5334843" cy="314948"/>
          </a:xfrm>
        </p:spPr>
        <p:txBody>
          <a:bodyPr/>
          <a:lstStyle/>
          <a:p>
            <a:r>
              <a:rPr lang="de-DE" dirty="0">
                <a:solidFill>
                  <a:schemeClr val="bg1"/>
                </a:solidFill>
              </a:rPr>
              <a:t>SPRACHE</a:t>
            </a:r>
          </a:p>
        </p:txBody>
      </p:sp>
      <p:grpSp>
        <p:nvGrpSpPr>
          <p:cNvPr id="35" name="Gruppieren 34">
            <a:extLst>
              <a:ext uri="{FF2B5EF4-FFF2-40B4-BE49-F238E27FC236}">
                <a16:creationId xmlns:a16="http://schemas.microsoft.com/office/drawing/2014/main" id="{F71E316C-7883-2C45-A8E5-52265394BD48}"/>
              </a:ext>
            </a:extLst>
          </p:cNvPr>
          <p:cNvGrpSpPr/>
          <p:nvPr/>
        </p:nvGrpSpPr>
        <p:grpSpPr>
          <a:xfrm>
            <a:off x="5392627" y="2313938"/>
            <a:ext cx="373065" cy="3318668"/>
            <a:chOff x="4829480" y="2170323"/>
            <a:chExt cx="373300" cy="3320759"/>
          </a:xfrm>
        </p:grpSpPr>
        <p:cxnSp>
          <p:nvCxnSpPr>
            <p:cNvPr id="36" name="Straight Connector 12">
              <a:extLst>
                <a:ext uri="{FF2B5EF4-FFF2-40B4-BE49-F238E27FC236}">
                  <a16:creationId xmlns:a16="http://schemas.microsoft.com/office/drawing/2014/main" id="{C0CE0D2F-9C6A-324C-AA54-45D6E0C7A8BA}"/>
                </a:ext>
              </a:extLst>
            </p:cNvPr>
            <p:cNvCxnSpPr>
              <a:cxnSpLocks/>
            </p:cNvCxnSpPr>
            <p:nvPr/>
          </p:nvCxnSpPr>
          <p:spPr bwMode="auto">
            <a:xfrm>
              <a:off x="4829480" y="3741668"/>
              <a:ext cx="360000" cy="0"/>
            </a:xfrm>
            <a:prstGeom prst="line">
              <a:avLst/>
            </a:prstGeom>
            <a:solidFill>
              <a:srgbClr val="FFFFFF"/>
            </a:solidFill>
            <a:ln w="19050" cap="flat" cmpd="sng" algn="ctr">
              <a:solidFill>
                <a:schemeClr val="tx2"/>
              </a:solidFill>
              <a:prstDash val="solid"/>
              <a:round/>
              <a:headEnd type="none" w="med" len="med"/>
              <a:tailEnd type="none" w="med" len="med"/>
            </a:ln>
            <a:effectLst/>
          </p:spPr>
        </p:cxnSp>
        <p:cxnSp>
          <p:nvCxnSpPr>
            <p:cNvPr id="37" name="Straight Connector 49">
              <a:extLst>
                <a:ext uri="{FF2B5EF4-FFF2-40B4-BE49-F238E27FC236}">
                  <a16:creationId xmlns:a16="http://schemas.microsoft.com/office/drawing/2014/main" id="{545E32B8-D236-9949-A410-0E19F69635AB}"/>
                </a:ext>
              </a:extLst>
            </p:cNvPr>
            <p:cNvCxnSpPr>
              <a:cxnSpLocks/>
            </p:cNvCxnSpPr>
            <p:nvPr/>
          </p:nvCxnSpPr>
          <p:spPr bwMode="auto">
            <a:xfrm>
              <a:off x="5202780" y="2170323"/>
              <a:ext cx="0" cy="3320759"/>
            </a:xfrm>
            <a:prstGeom prst="line">
              <a:avLst/>
            </a:prstGeom>
            <a:solidFill>
              <a:srgbClr val="FFFFFF"/>
            </a:solidFill>
            <a:ln w="19050" cap="flat" cmpd="sng" algn="ctr">
              <a:solidFill>
                <a:schemeClr val="tx2"/>
              </a:solidFill>
              <a:prstDash val="solid"/>
              <a:round/>
              <a:headEnd type="none" w="med" len="med"/>
              <a:tailEnd type="none" w="med" len="med"/>
            </a:ln>
            <a:effectLst/>
          </p:spPr>
        </p:cxnSp>
      </p:grpSp>
      <p:sp>
        <p:nvSpPr>
          <p:cNvPr id="51" name="Textfeld 50">
            <a:extLst>
              <a:ext uri="{FF2B5EF4-FFF2-40B4-BE49-F238E27FC236}">
                <a16:creationId xmlns:a16="http://schemas.microsoft.com/office/drawing/2014/main" id="{EEC16045-19E3-5A47-A3D6-D9B1960B22F9}"/>
              </a:ext>
            </a:extLst>
          </p:cNvPr>
          <p:cNvSpPr txBox="1"/>
          <p:nvPr/>
        </p:nvSpPr>
        <p:spPr>
          <a:xfrm>
            <a:off x="6142356" y="2584096"/>
            <a:ext cx="5118537" cy="2585323"/>
          </a:xfrm>
          <a:prstGeom prst="rect">
            <a:avLst/>
          </a:prstGeom>
          <a:noFill/>
        </p:spPr>
        <p:txBody>
          <a:bodyPr wrap="square" rtlCol="0">
            <a:spAutoFit/>
          </a:bodyPr>
          <a:lstStyle/>
          <a:p>
            <a:pPr marL="285750" indent="-285750">
              <a:buFont typeface="Arial" panose="020B0604020202020204" pitchFamily="34" charset="0"/>
              <a:buChar char="•"/>
            </a:pPr>
            <a:r>
              <a:rPr lang="de-DE" altLang="de-DE" dirty="0">
                <a:solidFill>
                  <a:schemeClr val="tx1">
                    <a:lumMod val="65000"/>
                    <a:lumOff val="35000"/>
                  </a:schemeClr>
                </a:solidFill>
                <a:latin typeface="Tahoma"/>
              </a:rPr>
              <a:t>Keine grundsätzliche Überprüfung aller Vierjährigen </a:t>
            </a:r>
          </a:p>
          <a:p>
            <a:pPr marL="285750" indent="-285750">
              <a:buFont typeface="Arial" panose="020B0604020202020204" pitchFamily="34" charset="0"/>
              <a:buChar char="•"/>
            </a:pPr>
            <a:endParaRPr lang="de-DE" altLang="de-DE" dirty="0">
              <a:solidFill>
                <a:schemeClr val="tx1">
                  <a:lumMod val="65000"/>
                  <a:lumOff val="35000"/>
                </a:schemeClr>
              </a:solidFill>
              <a:latin typeface="Tahoma"/>
            </a:endParaRPr>
          </a:p>
          <a:p>
            <a:pPr marL="285750" indent="-285750">
              <a:buFont typeface="Arial" panose="020B0604020202020204" pitchFamily="34" charset="0"/>
              <a:buChar char="•"/>
            </a:pPr>
            <a:r>
              <a:rPr lang="de-DE" altLang="de-DE" dirty="0">
                <a:solidFill>
                  <a:schemeClr val="tx1">
                    <a:lumMod val="65000"/>
                    <a:lumOff val="35000"/>
                  </a:schemeClr>
                </a:solidFill>
                <a:latin typeface="Tahoma"/>
              </a:rPr>
              <a:t>Jedes Kind wird in der Kindertageseinrichtung von Anfang an kontinuierlich und unter Verwendung geeigneter Verfahren von ihm vertrauten pädagogischen Kräften beobachtet und in seiner sprachlichen Entwicklung alltagsintegriert gefördert</a:t>
            </a:r>
          </a:p>
        </p:txBody>
      </p:sp>
      <p:sp>
        <p:nvSpPr>
          <p:cNvPr id="40" name="Freeform 118">
            <a:extLst>
              <a:ext uri="{FF2B5EF4-FFF2-40B4-BE49-F238E27FC236}">
                <a16:creationId xmlns:a16="http://schemas.microsoft.com/office/drawing/2014/main" id="{FDA58550-33DC-B843-8D19-4D6263ADF22D}"/>
              </a:ext>
            </a:extLst>
          </p:cNvPr>
          <p:cNvSpPr>
            <a:spLocks/>
          </p:cNvSpPr>
          <p:nvPr/>
        </p:nvSpPr>
        <p:spPr bwMode="auto">
          <a:xfrm>
            <a:off x="2243151" y="1760090"/>
            <a:ext cx="899973" cy="1654702"/>
          </a:xfrm>
          <a:custGeom>
            <a:avLst/>
            <a:gdLst>
              <a:gd name="T0" fmla="*/ 0 w 527"/>
              <a:gd name="T1" fmla="*/ 977 h 977"/>
              <a:gd name="T2" fmla="*/ 527 w 527"/>
              <a:gd name="T3" fmla="*/ 739 h 977"/>
              <a:gd name="T4" fmla="*/ 527 w 527"/>
              <a:gd name="T5" fmla="*/ 0 h 977"/>
              <a:gd name="T6" fmla="*/ 6 w 527"/>
              <a:gd name="T7" fmla="*/ 360 h 977"/>
              <a:gd name="T8" fmla="*/ 0 w 527"/>
              <a:gd name="T9" fmla="*/ 977 h 977"/>
            </a:gdLst>
            <a:ahLst/>
            <a:cxnLst>
              <a:cxn ang="0">
                <a:pos x="T0" y="T1"/>
              </a:cxn>
              <a:cxn ang="0">
                <a:pos x="T2" y="T3"/>
              </a:cxn>
              <a:cxn ang="0">
                <a:pos x="T4" y="T5"/>
              </a:cxn>
              <a:cxn ang="0">
                <a:pos x="T6" y="T7"/>
              </a:cxn>
              <a:cxn ang="0">
                <a:pos x="T8" y="T9"/>
              </a:cxn>
            </a:cxnLst>
            <a:rect l="0" t="0" r="r" b="b"/>
            <a:pathLst>
              <a:path w="527" h="977">
                <a:moveTo>
                  <a:pt x="0" y="977"/>
                </a:moveTo>
                <a:lnTo>
                  <a:pt x="527" y="739"/>
                </a:lnTo>
                <a:lnTo>
                  <a:pt x="527" y="0"/>
                </a:lnTo>
                <a:lnTo>
                  <a:pt x="6" y="360"/>
                </a:lnTo>
                <a:lnTo>
                  <a:pt x="0" y="977"/>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19">
            <a:extLst>
              <a:ext uri="{FF2B5EF4-FFF2-40B4-BE49-F238E27FC236}">
                <a16:creationId xmlns:a16="http://schemas.microsoft.com/office/drawing/2014/main" id="{430C7F48-5964-1B49-97C5-1CFA30801323}"/>
              </a:ext>
            </a:extLst>
          </p:cNvPr>
          <p:cNvSpPr>
            <a:spLocks/>
          </p:cNvSpPr>
          <p:nvPr/>
        </p:nvSpPr>
        <p:spPr bwMode="auto">
          <a:xfrm>
            <a:off x="3143124" y="1760090"/>
            <a:ext cx="858987" cy="1653008"/>
          </a:xfrm>
          <a:custGeom>
            <a:avLst/>
            <a:gdLst>
              <a:gd name="T0" fmla="*/ 503 w 503"/>
              <a:gd name="T1" fmla="*/ 976 h 976"/>
              <a:gd name="T2" fmla="*/ 0 w 503"/>
              <a:gd name="T3" fmla="*/ 739 h 976"/>
              <a:gd name="T4" fmla="*/ 0 w 503"/>
              <a:gd name="T5" fmla="*/ 0 h 976"/>
              <a:gd name="T6" fmla="*/ 503 w 503"/>
              <a:gd name="T7" fmla="*/ 368 h 976"/>
              <a:gd name="T8" fmla="*/ 503 w 503"/>
              <a:gd name="T9" fmla="*/ 976 h 976"/>
            </a:gdLst>
            <a:ahLst/>
            <a:cxnLst>
              <a:cxn ang="0">
                <a:pos x="T0" y="T1"/>
              </a:cxn>
              <a:cxn ang="0">
                <a:pos x="T2" y="T3"/>
              </a:cxn>
              <a:cxn ang="0">
                <a:pos x="T4" y="T5"/>
              </a:cxn>
              <a:cxn ang="0">
                <a:pos x="T6" y="T7"/>
              </a:cxn>
              <a:cxn ang="0">
                <a:pos x="T8" y="T9"/>
              </a:cxn>
            </a:cxnLst>
            <a:rect l="0" t="0" r="r" b="b"/>
            <a:pathLst>
              <a:path w="503" h="976">
                <a:moveTo>
                  <a:pt x="503" y="976"/>
                </a:moveTo>
                <a:lnTo>
                  <a:pt x="0" y="739"/>
                </a:lnTo>
                <a:lnTo>
                  <a:pt x="0" y="0"/>
                </a:lnTo>
                <a:lnTo>
                  <a:pt x="503" y="368"/>
                </a:lnTo>
                <a:lnTo>
                  <a:pt x="503" y="976"/>
                </a:lnTo>
                <a:close/>
              </a:path>
            </a:pathLst>
          </a:custGeom>
          <a:solidFill>
            <a:srgbClr val="004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20">
            <a:extLst>
              <a:ext uri="{FF2B5EF4-FFF2-40B4-BE49-F238E27FC236}">
                <a16:creationId xmlns:a16="http://schemas.microsoft.com/office/drawing/2014/main" id="{BC978549-8B21-3E47-A3BD-E1AB2B8B9938}"/>
              </a:ext>
            </a:extLst>
          </p:cNvPr>
          <p:cNvSpPr>
            <a:spLocks/>
          </p:cNvSpPr>
          <p:nvPr/>
        </p:nvSpPr>
        <p:spPr bwMode="auto">
          <a:xfrm>
            <a:off x="2234209" y="3002832"/>
            <a:ext cx="1758961" cy="723191"/>
          </a:xfrm>
          <a:custGeom>
            <a:avLst/>
            <a:gdLst>
              <a:gd name="T0" fmla="*/ 1030 w 1030"/>
              <a:gd name="T1" fmla="*/ 237 h 427"/>
              <a:gd name="T2" fmla="*/ 538 w 1030"/>
              <a:gd name="T3" fmla="*/ 427 h 427"/>
              <a:gd name="T4" fmla="*/ 0 w 1030"/>
              <a:gd name="T5" fmla="*/ 238 h 427"/>
              <a:gd name="T6" fmla="*/ 527 w 1030"/>
              <a:gd name="T7" fmla="*/ 0 h 427"/>
              <a:gd name="T8" fmla="*/ 1030 w 1030"/>
              <a:gd name="T9" fmla="*/ 237 h 427"/>
            </a:gdLst>
            <a:ahLst/>
            <a:cxnLst>
              <a:cxn ang="0">
                <a:pos x="T0" y="T1"/>
              </a:cxn>
              <a:cxn ang="0">
                <a:pos x="T2" y="T3"/>
              </a:cxn>
              <a:cxn ang="0">
                <a:pos x="T4" y="T5"/>
              </a:cxn>
              <a:cxn ang="0">
                <a:pos x="T6" y="T7"/>
              </a:cxn>
              <a:cxn ang="0">
                <a:pos x="T8" y="T9"/>
              </a:cxn>
            </a:cxnLst>
            <a:rect l="0" t="0" r="r" b="b"/>
            <a:pathLst>
              <a:path w="1030" h="427">
                <a:moveTo>
                  <a:pt x="1030" y="237"/>
                </a:moveTo>
                <a:lnTo>
                  <a:pt x="538" y="427"/>
                </a:lnTo>
                <a:lnTo>
                  <a:pt x="0" y="238"/>
                </a:lnTo>
                <a:lnTo>
                  <a:pt x="527" y="0"/>
                </a:lnTo>
                <a:lnTo>
                  <a:pt x="1030" y="237"/>
                </a:lnTo>
                <a:close/>
              </a:path>
            </a:pathLst>
          </a:custGeom>
          <a:solidFill>
            <a:srgbClr val="1A8C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34">
            <a:extLst>
              <a:ext uri="{FF2B5EF4-FFF2-40B4-BE49-F238E27FC236}">
                <a16:creationId xmlns:a16="http://schemas.microsoft.com/office/drawing/2014/main" id="{46E546CD-7AF7-0846-A568-5A2484BA5601}"/>
              </a:ext>
            </a:extLst>
          </p:cNvPr>
          <p:cNvSpPr>
            <a:spLocks/>
          </p:cNvSpPr>
          <p:nvPr/>
        </p:nvSpPr>
        <p:spPr bwMode="auto">
          <a:xfrm>
            <a:off x="3153370" y="3313171"/>
            <a:ext cx="689922" cy="1177091"/>
          </a:xfrm>
          <a:custGeom>
            <a:avLst/>
            <a:gdLst>
              <a:gd name="T0" fmla="*/ 404 w 404"/>
              <a:gd name="T1" fmla="*/ 695 h 695"/>
              <a:gd name="T2" fmla="*/ 0 w 404"/>
              <a:gd name="T3" fmla="*/ 646 h 695"/>
              <a:gd name="T4" fmla="*/ 0 w 404"/>
              <a:gd name="T5" fmla="*/ 0 h 695"/>
              <a:gd name="T6" fmla="*/ 404 w 404"/>
              <a:gd name="T7" fmla="*/ 174 h 695"/>
              <a:gd name="T8" fmla="*/ 404 w 404"/>
              <a:gd name="T9" fmla="*/ 695 h 695"/>
            </a:gdLst>
            <a:ahLst/>
            <a:cxnLst>
              <a:cxn ang="0">
                <a:pos x="T0" y="T1"/>
              </a:cxn>
              <a:cxn ang="0">
                <a:pos x="T2" y="T3"/>
              </a:cxn>
              <a:cxn ang="0">
                <a:pos x="T4" y="T5"/>
              </a:cxn>
              <a:cxn ang="0">
                <a:pos x="T6" y="T7"/>
              </a:cxn>
              <a:cxn ang="0">
                <a:pos x="T8" y="T9"/>
              </a:cxn>
            </a:cxnLst>
            <a:rect l="0" t="0" r="r" b="b"/>
            <a:pathLst>
              <a:path w="404" h="695">
                <a:moveTo>
                  <a:pt x="404" y="695"/>
                </a:moveTo>
                <a:lnTo>
                  <a:pt x="0" y="646"/>
                </a:lnTo>
                <a:lnTo>
                  <a:pt x="0" y="0"/>
                </a:lnTo>
                <a:lnTo>
                  <a:pt x="404" y="174"/>
                </a:lnTo>
                <a:lnTo>
                  <a:pt x="404" y="695"/>
                </a:lnTo>
                <a:close/>
              </a:path>
            </a:pathLst>
          </a:custGeom>
          <a:solidFill>
            <a:srgbClr val="66B3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35">
            <a:extLst>
              <a:ext uri="{FF2B5EF4-FFF2-40B4-BE49-F238E27FC236}">
                <a16:creationId xmlns:a16="http://schemas.microsoft.com/office/drawing/2014/main" id="{7AE62E51-6066-924C-993B-3A2499E6E6A9}"/>
              </a:ext>
            </a:extLst>
          </p:cNvPr>
          <p:cNvSpPr>
            <a:spLocks/>
          </p:cNvSpPr>
          <p:nvPr/>
        </p:nvSpPr>
        <p:spPr bwMode="auto">
          <a:xfrm>
            <a:off x="2495895" y="3313171"/>
            <a:ext cx="657475" cy="1168622"/>
          </a:xfrm>
          <a:custGeom>
            <a:avLst/>
            <a:gdLst>
              <a:gd name="T0" fmla="*/ 0 w 385"/>
              <a:gd name="T1" fmla="*/ 690 h 690"/>
              <a:gd name="T2" fmla="*/ 385 w 385"/>
              <a:gd name="T3" fmla="*/ 646 h 690"/>
              <a:gd name="T4" fmla="*/ 385 w 385"/>
              <a:gd name="T5" fmla="*/ 0 h 690"/>
              <a:gd name="T6" fmla="*/ 0 w 385"/>
              <a:gd name="T7" fmla="*/ 159 h 690"/>
              <a:gd name="T8" fmla="*/ 0 w 385"/>
              <a:gd name="T9" fmla="*/ 690 h 690"/>
            </a:gdLst>
            <a:ahLst/>
            <a:cxnLst>
              <a:cxn ang="0">
                <a:pos x="T0" y="T1"/>
              </a:cxn>
              <a:cxn ang="0">
                <a:pos x="T2" y="T3"/>
              </a:cxn>
              <a:cxn ang="0">
                <a:pos x="T4" y="T5"/>
              </a:cxn>
              <a:cxn ang="0">
                <a:pos x="T6" y="T7"/>
              </a:cxn>
              <a:cxn ang="0">
                <a:pos x="T8" y="T9"/>
              </a:cxn>
            </a:cxnLst>
            <a:rect l="0" t="0" r="r" b="b"/>
            <a:pathLst>
              <a:path w="385" h="690">
                <a:moveTo>
                  <a:pt x="0" y="690"/>
                </a:moveTo>
                <a:lnTo>
                  <a:pt x="385" y="646"/>
                </a:lnTo>
                <a:lnTo>
                  <a:pt x="385" y="0"/>
                </a:lnTo>
                <a:lnTo>
                  <a:pt x="0" y="159"/>
                </a:lnTo>
                <a:lnTo>
                  <a:pt x="0" y="690"/>
                </a:lnTo>
                <a:close/>
              </a:path>
            </a:pathLst>
          </a:custGeom>
          <a:solidFill>
            <a:srgbClr val="B3D9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36">
            <a:extLst>
              <a:ext uri="{FF2B5EF4-FFF2-40B4-BE49-F238E27FC236}">
                <a16:creationId xmlns:a16="http://schemas.microsoft.com/office/drawing/2014/main" id="{B5883AC1-FD92-D845-B559-78EC40E3C5B5}"/>
              </a:ext>
            </a:extLst>
          </p:cNvPr>
          <p:cNvSpPr>
            <a:spLocks/>
          </p:cNvSpPr>
          <p:nvPr/>
        </p:nvSpPr>
        <p:spPr bwMode="auto">
          <a:xfrm>
            <a:off x="2495896" y="4396257"/>
            <a:ext cx="1347398" cy="167672"/>
          </a:xfrm>
          <a:custGeom>
            <a:avLst/>
            <a:gdLst>
              <a:gd name="T0" fmla="*/ 0 w 789"/>
              <a:gd name="T1" fmla="*/ 45 h 99"/>
              <a:gd name="T2" fmla="*/ 497 w 789"/>
              <a:gd name="T3" fmla="*/ 99 h 99"/>
              <a:gd name="T4" fmla="*/ 789 w 789"/>
              <a:gd name="T5" fmla="*/ 50 h 99"/>
              <a:gd name="T6" fmla="*/ 385 w 789"/>
              <a:gd name="T7" fmla="*/ 0 h 99"/>
              <a:gd name="T8" fmla="*/ 0 w 789"/>
              <a:gd name="T9" fmla="*/ 45 h 99"/>
            </a:gdLst>
            <a:ahLst/>
            <a:cxnLst>
              <a:cxn ang="0">
                <a:pos x="T0" y="T1"/>
              </a:cxn>
              <a:cxn ang="0">
                <a:pos x="T2" y="T3"/>
              </a:cxn>
              <a:cxn ang="0">
                <a:pos x="T4" y="T5"/>
              </a:cxn>
              <a:cxn ang="0">
                <a:pos x="T6" y="T7"/>
              </a:cxn>
              <a:cxn ang="0">
                <a:pos x="T8" y="T9"/>
              </a:cxn>
            </a:cxnLst>
            <a:rect l="0" t="0" r="r" b="b"/>
            <a:pathLst>
              <a:path w="789" h="99">
                <a:moveTo>
                  <a:pt x="0" y="45"/>
                </a:moveTo>
                <a:lnTo>
                  <a:pt x="497" y="99"/>
                </a:lnTo>
                <a:lnTo>
                  <a:pt x="789" y="50"/>
                </a:lnTo>
                <a:lnTo>
                  <a:pt x="385" y="0"/>
                </a:lnTo>
                <a:lnTo>
                  <a:pt x="0" y="45"/>
                </a:lnTo>
                <a:close/>
              </a:path>
            </a:pathLst>
          </a:custGeom>
          <a:solidFill>
            <a:srgbClr val="0040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38">
            <a:extLst>
              <a:ext uri="{FF2B5EF4-FFF2-40B4-BE49-F238E27FC236}">
                <a16:creationId xmlns:a16="http://schemas.microsoft.com/office/drawing/2014/main" id="{E510922E-78DE-C64B-B925-BF54838174EF}"/>
              </a:ext>
            </a:extLst>
          </p:cNvPr>
          <p:cNvSpPr>
            <a:spLocks/>
          </p:cNvSpPr>
          <p:nvPr/>
        </p:nvSpPr>
        <p:spPr bwMode="auto">
          <a:xfrm>
            <a:off x="2875012" y="4427596"/>
            <a:ext cx="978529" cy="1661476"/>
          </a:xfrm>
          <a:custGeom>
            <a:avLst/>
            <a:gdLst>
              <a:gd name="T0" fmla="*/ 573 w 573"/>
              <a:gd name="T1" fmla="*/ 811 h 981"/>
              <a:gd name="T2" fmla="*/ 0 w 573"/>
              <a:gd name="T3" fmla="*/ 981 h 981"/>
              <a:gd name="T4" fmla="*/ 0 w 573"/>
              <a:gd name="T5" fmla="*/ 0 h 981"/>
              <a:gd name="T6" fmla="*/ 573 w 573"/>
              <a:gd name="T7" fmla="*/ 66 h 981"/>
              <a:gd name="T8" fmla="*/ 573 w 573"/>
              <a:gd name="T9" fmla="*/ 811 h 981"/>
            </a:gdLst>
            <a:ahLst/>
            <a:cxnLst>
              <a:cxn ang="0">
                <a:pos x="T0" y="T1"/>
              </a:cxn>
              <a:cxn ang="0">
                <a:pos x="T2" y="T3"/>
              </a:cxn>
              <a:cxn ang="0">
                <a:pos x="T4" y="T5"/>
              </a:cxn>
              <a:cxn ang="0">
                <a:pos x="T6" y="T7"/>
              </a:cxn>
              <a:cxn ang="0">
                <a:pos x="T8" y="T9"/>
              </a:cxn>
            </a:cxnLst>
            <a:rect l="0" t="0" r="r" b="b"/>
            <a:pathLst>
              <a:path w="573" h="981">
                <a:moveTo>
                  <a:pt x="573" y="811"/>
                </a:moveTo>
                <a:lnTo>
                  <a:pt x="0" y="981"/>
                </a:lnTo>
                <a:lnTo>
                  <a:pt x="0" y="0"/>
                </a:lnTo>
                <a:lnTo>
                  <a:pt x="573" y="66"/>
                </a:lnTo>
                <a:lnTo>
                  <a:pt x="573" y="811"/>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39">
            <a:extLst>
              <a:ext uri="{FF2B5EF4-FFF2-40B4-BE49-F238E27FC236}">
                <a16:creationId xmlns:a16="http://schemas.microsoft.com/office/drawing/2014/main" id="{C346E3AE-5857-FA45-B1D1-B6240C73BF1E}"/>
              </a:ext>
            </a:extLst>
          </p:cNvPr>
          <p:cNvSpPr>
            <a:spLocks/>
          </p:cNvSpPr>
          <p:nvPr/>
        </p:nvSpPr>
        <p:spPr bwMode="auto">
          <a:xfrm>
            <a:off x="1956253" y="4427596"/>
            <a:ext cx="918759" cy="1661476"/>
          </a:xfrm>
          <a:custGeom>
            <a:avLst/>
            <a:gdLst>
              <a:gd name="T0" fmla="*/ 0 w 538"/>
              <a:gd name="T1" fmla="*/ 811 h 981"/>
              <a:gd name="T2" fmla="*/ 538 w 538"/>
              <a:gd name="T3" fmla="*/ 981 h 981"/>
              <a:gd name="T4" fmla="*/ 538 w 538"/>
              <a:gd name="T5" fmla="*/ 0 h 981"/>
              <a:gd name="T6" fmla="*/ 4 w 538"/>
              <a:gd name="T7" fmla="*/ 66 h 981"/>
              <a:gd name="T8" fmla="*/ 0 w 538"/>
              <a:gd name="T9" fmla="*/ 811 h 981"/>
            </a:gdLst>
            <a:ahLst/>
            <a:cxnLst>
              <a:cxn ang="0">
                <a:pos x="T0" y="T1"/>
              </a:cxn>
              <a:cxn ang="0">
                <a:pos x="T2" y="T3"/>
              </a:cxn>
              <a:cxn ang="0">
                <a:pos x="T4" y="T5"/>
              </a:cxn>
              <a:cxn ang="0">
                <a:pos x="T6" y="T7"/>
              </a:cxn>
              <a:cxn ang="0">
                <a:pos x="T8" y="T9"/>
              </a:cxn>
            </a:cxnLst>
            <a:rect l="0" t="0" r="r" b="b"/>
            <a:pathLst>
              <a:path w="538" h="981">
                <a:moveTo>
                  <a:pt x="0" y="811"/>
                </a:moveTo>
                <a:lnTo>
                  <a:pt x="538" y="981"/>
                </a:lnTo>
                <a:lnTo>
                  <a:pt x="538" y="0"/>
                </a:lnTo>
                <a:lnTo>
                  <a:pt x="4" y="66"/>
                </a:lnTo>
                <a:lnTo>
                  <a:pt x="0" y="811"/>
                </a:lnTo>
                <a:close/>
              </a:path>
            </a:pathLst>
          </a:custGeom>
          <a:solidFill>
            <a:schemeClr val="accent2">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40">
            <a:extLst>
              <a:ext uri="{FF2B5EF4-FFF2-40B4-BE49-F238E27FC236}">
                <a16:creationId xmlns:a16="http://schemas.microsoft.com/office/drawing/2014/main" id="{22C4006B-BAAD-B54E-9F07-A905D799F8AB}"/>
              </a:ext>
            </a:extLst>
          </p:cNvPr>
          <p:cNvSpPr>
            <a:spLocks/>
          </p:cNvSpPr>
          <p:nvPr/>
        </p:nvSpPr>
        <p:spPr bwMode="auto">
          <a:xfrm>
            <a:off x="3059447" y="4796813"/>
            <a:ext cx="631859" cy="880700"/>
          </a:xfrm>
          <a:custGeom>
            <a:avLst/>
            <a:gdLst>
              <a:gd name="T0" fmla="*/ 312 w 325"/>
              <a:gd name="T1" fmla="*/ 325 h 457"/>
              <a:gd name="T2" fmla="*/ 259 w 325"/>
              <a:gd name="T3" fmla="*/ 296 h 457"/>
              <a:gd name="T4" fmla="*/ 237 w 325"/>
              <a:gd name="T5" fmla="*/ 285 h 457"/>
              <a:gd name="T6" fmla="*/ 219 w 325"/>
              <a:gd name="T7" fmla="*/ 233 h 457"/>
              <a:gd name="T8" fmla="*/ 237 w 325"/>
              <a:gd name="T9" fmla="*/ 177 h 457"/>
              <a:gd name="T10" fmla="*/ 252 w 325"/>
              <a:gd name="T11" fmla="*/ 142 h 457"/>
              <a:gd name="T12" fmla="*/ 247 w 325"/>
              <a:gd name="T13" fmla="*/ 119 h 457"/>
              <a:gd name="T14" fmla="*/ 247 w 325"/>
              <a:gd name="T15" fmla="*/ 120 h 457"/>
              <a:gd name="T16" fmla="*/ 247 w 325"/>
              <a:gd name="T17" fmla="*/ 119 h 457"/>
              <a:gd name="T18" fmla="*/ 247 w 325"/>
              <a:gd name="T19" fmla="*/ 119 h 457"/>
              <a:gd name="T20" fmla="*/ 247 w 325"/>
              <a:gd name="T21" fmla="*/ 118 h 457"/>
              <a:gd name="T22" fmla="*/ 248 w 325"/>
              <a:gd name="T23" fmla="*/ 111 h 457"/>
              <a:gd name="T24" fmla="*/ 248 w 325"/>
              <a:gd name="T25" fmla="*/ 110 h 457"/>
              <a:gd name="T26" fmla="*/ 248 w 325"/>
              <a:gd name="T27" fmla="*/ 104 h 457"/>
              <a:gd name="T28" fmla="*/ 248 w 325"/>
              <a:gd name="T29" fmla="*/ 104 h 457"/>
              <a:gd name="T30" fmla="*/ 248 w 325"/>
              <a:gd name="T31" fmla="*/ 104 h 457"/>
              <a:gd name="T32" fmla="*/ 248 w 325"/>
              <a:gd name="T33" fmla="*/ 103 h 457"/>
              <a:gd name="T34" fmla="*/ 248 w 325"/>
              <a:gd name="T35" fmla="*/ 103 h 457"/>
              <a:gd name="T36" fmla="*/ 248 w 325"/>
              <a:gd name="T37" fmla="*/ 103 h 457"/>
              <a:gd name="T38" fmla="*/ 248 w 325"/>
              <a:gd name="T39" fmla="*/ 102 h 457"/>
              <a:gd name="T40" fmla="*/ 248 w 325"/>
              <a:gd name="T41" fmla="*/ 102 h 457"/>
              <a:gd name="T42" fmla="*/ 248 w 325"/>
              <a:gd name="T43" fmla="*/ 102 h 457"/>
              <a:gd name="T44" fmla="*/ 246 w 325"/>
              <a:gd name="T45" fmla="*/ 62 h 457"/>
              <a:gd name="T46" fmla="*/ 103 w 325"/>
              <a:gd name="T47" fmla="*/ 62 h 457"/>
              <a:gd name="T48" fmla="*/ 101 w 325"/>
              <a:gd name="T49" fmla="*/ 102 h 457"/>
              <a:gd name="T50" fmla="*/ 101 w 325"/>
              <a:gd name="T51" fmla="*/ 102 h 457"/>
              <a:gd name="T52" fmla="*/ 101 w 325"/>
              <a:gd name="T53" fmla="*/ 102 h 457"/>
              <a:gd name="T54" fmla="*/ 101 w 325"/>
              <a:gd name="T55" fmla="*/ 104 h 457"/>
              <a:gd name="T56" fmla="*/ 101 w 325"/>
              <a:gd name="T57" fmla="*/ 104 h 457"/>
              <a:gd name="T58" fmla="*/ 101 w 325"/>
              <a:gd name="T59" fmla="*/ 104 h 457"/>
              <a:gd name="T60" fmla="*/ 101 w 325"/>
              <a:gd name="T61" fmla="*/ 105 h 457"/>
              <a:gd name="T62" fmla="*/ 101 w 325"/>
              <a:gd name="T63" fmla="*/ 105 h 457"/>
              <a:gd name="T64" fmla="*/ 101 w 325"/>
              <a:gd name="T65" fmla="*/ 105 h 457"/>
              <a:gd name="T66" fmla="*/ 101 w 325"/>
              <a:gd name="T67" fmla="*/ 105 h 457"/>
              <a:gd name="T68" fmla="*/ 103 w 325"/>
              <a:gd name="T69" fmla="*/ 123 h 457"/>
              <a:gd name="T70" fmla="*/ 96 w 325"/>
              <a:gd name="T71" fmla="*/ 142 h 457"/>
              <a:gd name="T72" fmla="*/ 112 w 325"/>
              <a:gd name="T73" fmla="*/ 177 h 457"/>
              <a:gd name="T74" fmla="*/ 130 w 325"/>
              <a:gd name="T75" fmla="*/ 233 h 457"/>
              <a:gd name="T76" fmla="*/ 112 w 325"/>
              <a:gd name="T77" fmla="*/ 296 h 457"/>
              <a:gd name="T78" fmla="*/ 20 w 325"/>
              <a:gd name="T79" fmla="*/ 363 h 457"/>
              <a:gd name="T80" fmla="*/ 5 w 325"/>
              <a:gd name="T81" fmla="*/ 457 h 457"/>
              <a:gd name="T82" fmla="*/ 321 w 325"/>
              <a:gd name="T83" fmla="*/ 387 h 457"/>
              <a:gd name="T84" fmla="*/ 312 w 325"/>
              <a:gd name="T85" fmla="*/ 325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5" h="457">
                <a:moveTo>
                  <a:pt x="312" y="325"/>
                </a:moveTo>
                <a:cubicBezTo>
                  <a:pt x="297" y="311"/>
                  <a:pt x="280" y="308"/>
                  <a:pt x="259" y="296"/>
                </a:cubicBezTo>
                <a:cubicBezTo>
                  <a:pt x="237" y="285"/>
                  <a:pt x="237" y="285"/>
                  <a:pt x="237" y="285"/>
                </a:cubicBezTo>
                <a:cubicBezTo>
                  <a:pt x="237" y="285"/>
                  <a:pt x="197" y="262"/>
                  <a:pt x="219" y="233"/>
                </a:cubicBezTo>
                <a:cubicBezTo>
                  <a:pt x="228" y="221"/>
                  <a:pt x="233" y="200"/>
                  <a:pt x="237" y="177"/>
                </a:cubicBezTo>
                <a:cubicBezTo>
                  <a:pt x="242" y="177"/>
                  <a:pt x="249" y="162"/>
                  <a:pt x="252" y="142"/>
                </a:cubicBezTo>
                <a:cubicBezTo>
                  <a:pt x="256" y="126"/>
                  <a:pt x="251" y="121"/>
                  <a:pt x="247" y="119"/>
                </a:cubicBezTo>
                <a:cubicBezTo>
                  <a:pt x="247" y="119"/>
                  <a:pt x="247" y="119"/>
                  <a:pt x="247" y="120"/>
                </a:cubicBezTo>
                <a:cubicBezTo>
                  <a:pt x="247" y="120"/>
                  <a:pt x="247" y="119"/>
                  <a:pt x="247" y="119"/>
                </a:cubicBezTo>
                <a:cubicBezTo>
                  <a:pt x="247" y="119"/>
                  <a:pt x="247" y="119"/>
                  <a:pt x="247" y="119"/>
                </a:cubicBezTo>
                <a:cubicBezTo>
                  <a:pt x="247" y="119"/>
                  <a:pt x="247" y="118"/>
                  <a:pt x="247" y="118"/>
                </a:cubicBezTo>
                <a:cubicBezTo>
                  <a:pt x="247" y="116"/>
                  <a:pt x="247" y="113"/>
                  <a:pt x="248" y="111"/>
                </a:cubicBezTo>
                <a:cubicBezTo>
                  <a:pt x="248" y="110"/>
                  <a:pt x="248" y="110"/>
                  <a:pt x="248" y="110"/>
                </a:cubicBezTo>
                <a:cubicBezTo>
                  <a:pt x="248" y="108"/>
                  <a:pt x="248" y="106"/>
                  <a:pt x="248" y="104"/>
                </a:cubicBezTo>
                <a:cubicBezTo>
                  <a:pt x="248" y="104"/>
                  <a:pt x="248" y="104"/>
                  <a:pt x="248" y="104"/>
                </a:cubicBezTo>
                <a:cubicBezTo>
                  <a:pt x="248" y="104"/>
                  <a:pt x="248" y="104"/>
                  <a:pt x="248" y="104"/>
                </a:cubicBezTo>
                <a:cubicBezTo>
                  <a:pt x="248" y="104"/>
                  <a:pt x="248" y="103"/>
                  <a:pt x="248" y="103"/>
                </a:cubicBezTo>
                <a:cubicBezTo>
                  <a:pt x="248" y="103"/>
                  <a:pt x="248" y="103"/>
                  <a:pt x="248" y="103"/>
                </a:cubicBezTo>
                <a:cubicBezTo>
                  <a:pt x="248" y="103"/>
                  <a:pt x="248" y="103"/>
                  <a:pt x="248" y="103"/>
                </a:cubicBezTo>
                <a:cubicBezTo>
                  <a:pt x="248" y="103"/>
                  <a:pt x="248" y="103"/>
                  <a:pt x="248" y="102"/>
                </a:cubicBezTo>
                <a:cubicBezTo>
                  <a:pt x="248" y="102"/>
                  <a:pt x="248" y="102"/>
                  <a:pt x="248" y="102"/>
                </a:cubicBezTo>
                <a:cubicBezTo>
                  <a:pt x="248" y="102"/>
                  <a:pt x="248" y="102"/>
                  <a:pt x="248" y="102"/>
                </a:cubicBezTo>
                <a:cubicBezTo>
                  <a:pt x="250" y="85"/>
                  <a:pt x="248" y="70"/>
                  <a:pt x="246" y="62"/>
                </a:cubicBezTo>
                <a:cubicBezTo>
                  <a:pt x="233" y="16"/>
                  <a:pt x="133" y="0"/>
                  <a:pt x="103" y="62"/>
                </a:cubicBezTo>
                <a:cubicBezTo>
                  <a:pt x="99" y="69"/>
                  <a:pt x="99" y="85"/>
                  <a:pt x="101" y="102"/>
                </a:cubicBezTo>
                <a:cubicBezTo>
                  <a:pt x="101" y="102"/>
                  <a:pt x="101" y="102"/>
                  <a:pt x="101" y="102"/>
                </a:cubicBezTo>
                <a:cubicBezTo>
                  <a:pt x="101" y="102"/>
                  <a:pt x="101" y="102"/>
                  <a:pt x="101" y="102"/>
                </a:cubicBezTo>
                <a:cubicBezTo>
                  <a:pt x="101" y="103"/>
                  <a:pt x="101" y="103"/>
                  <a:pt x="101" y="104"/>
                </a:cubicBezTo>
                <a:cubicBezTo>
                  <a:pt x="101" y="104"/>
                  <a:pt x="101" y="104"/>
                  <a:pt x="101" y="104"/>
                </a:cubicBezTo>
                <a:cubicBezTo>
                  <a:pt x="101" y="104"/>
                  <a:pt x="101" y="104"/>
                  <a:pt x="101" y="104"/>
                </a:cubicBezTo>
                <a:cubicBezTo>
                  <a:pt x="101" y="104"/>
                  <a:pt x="101" y="104"/>
                  <a:pt x="101" y="105"/>
                </a:cubicBezTo>
                <a:cubicBezTo>
                  <a:pt x="101" y="105"/>
                  <a:pt x="101" y="105"/>
                  <a:pt x="101" y="105"/>
                </a:cubicBezTo>
                <a:cubicBezTo>
                  <a:pt x="101" y="105"/>
                  <a:pt x="101" y="105"/>
                  <a:pt x="101" y="105"/>
                </a:cubicBezTo>
                <a:cubicBezTo>
                  <a:pt x="101" y="105"/>
                  <a:pt x="101" y="105"/>
                  <a:pt x="101" y="105"/>
                </a:cubicBezTo>
                <a:cubicBezTo>
                  <a:pt x="102" y="111"/>
                  <a:pt x="102" y="117"/>
                  <a:pt x="103" y="123"/>
                </a:cubicBezTo>
                <a:cubicBezTo>
                  <a:pt x="98" y="124"/>
                  <a:pt x="93" y="127"/>
                  <a:pt x="96" y="142"/>
                </a:cubicBezTo>
                <a:cubicBezTo>
                  <a:pt x="100" y="162"/>
                  <a:pt x="107" y="177"/>
                  <a:pt x="112" y="177"/>
                </a:cubicBezTo>
                <a:cubicBezTo>
                  <a:pt x="115" y="200"/>
                  <a:pt x="121" y="221"/>
                  <a:pt x="130" y="233"/>
                </a:cubicBezTo>
                <a:cubicBezTo>
                  <a:pt x="152" y="262"/>
                  <a:pt x="113" y="296"/>
                  <a:pt x="112" y="296"/>
                </a:cubicBezTo>
                <a:cubicBezTo>
                  <a:pt x="112" y="296"/>
                  <a:pt x="34" y="348"/>
                  <a:pt x="20" y="363"/>
                </a:cubicBezTo>
                <a:cubicBezTo>
                  <a:pt x="0" y="385"/>
                  <a:pt x="5" y="457"/>
                  <a:pt x="5" y="457"/>
                </a:cubicBezTo>
                <a:cubicBezTo>
                  <a:pt x="321" y="387"/>
                  <a:pt x="321" y="387"/>
                  <a:pt x="321" y="387"/>
                </a:cubicBezTo>
                <a:cubicBezTo>
                  <a:pt x="321" y="387"/>
                  <a:pt x="325" y="338"/>
                  <a:pt x="312" y="32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57">
            <a:extLst>
              <a:ext uri="{FF2B5EF4-FFF2-40B4-BE49-F238E27FC236}">
                <a16:creationId xmlns:a16="http://schemas.microsoft.com/office/drawing/2014/main" id="{5DC4F12B-2DC6-3349-8076-5ED111887684}"/>
              </a:ext>
            </a:extLst>
          </p:cNvPr>
          <p:cNvSpPr>
            <a:spLocks/>
          </p:cNvSpPr>
          <p:nvPr/>
        </p:nvSpPr>
        <p:spPr bwMode="auto">
          <a:xfrm>
            <a:off x="2045055" y="3743359"/>
            <a:ext cx="266406" cy="96539"/>
          </a:xfrm>
          <a:custGeom>
            <a:avLst/>
            <a:gdLst>
              <a:gd name="T0" fmla="*/ 0 w 156"/>
              <a:gd name="T1" fmla="*/ 55 h 57"/>
              <a:gd name="T2" fmla="*/ 153 w 156"/>
              <a:gd name="T3" fmla="*/ 0 h 57"/>
              <a:gd name="T4" fmla="*/ 156 w 156"/>
              <a:gd name="T5" fmla="*/ 9 h 57"/>
              <a:gd name="T6" fmla="*/ 18 w 156"/>
              <a:gd name="T7" fmla="*/ 57 h 57"/>
              <a:gd name="T8" fmla="*/ 0 w 156"/>
              <a:gd name="T9" fmla="*/ 55 h 57"/>
            </a:gdLst>
            <a:ahLst/>
            <a:cxnLst>
              <a:cxn ang="0">
                <a:pos x="T0" y="T1"/>
              </a:cxn>
              <a:cxn ang="0">
                <a:pos x="T2" y="T3"/>
              </a:cxn>
              <a:cxn ang="0">
                <a:pos x="T4" y="T5"/>
              </a:cxn>
              <a:cxn ang="0">
                <a:pos x="T6" y="T7"/>
              </a:cxn>
              <a:cxn ang="0">
                <a:pos x="T8" y="T9"/>
              </a:cxn>
            </a:cxnLst>
            <a:rect l="0" t="0" r="r" b="b"/>
            <a:pathLst>
              <a:path w="156" h="57">
                <a:moveTo>
                  <a:pt x="0" y="55"/>
                </a:moveTo>
                <a:lnTo>
                  <a:pt x="153" y="0"/>
                </a:lnTo>
                <a:lnTo>
                  <a:pt x="156" y="9"/>
                </a:lnTo>
                <a:lnTo>
                  <a:pt x="18" y="57"/>
                </a:lnTo>
                <a:lnTo>
                  <a:pt x="0" y="55"/>
                </a:ln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41">
            <a:extLst>
              <a:ext uri="{FF2B5EF4-FFF2-40B4-BE49-F238E27FC236}">
                <a16:creationId xmlns:a16="http://schemas.microsoft.com/office/drawing/2014/main" id="{40CD2532-B902-B244-A23B-C357DEAC12C2}"/>
              </a:ext>
            </a:extLst>
          </p:cNvPr>
          <p:cNvSpPr>
            <a:spLocks/>
          </p:cNvSpPr>
          <p:nvPr/>
        </p:nvSpPr>
        <p:spPr bwMode="auto">
          <a:xfrm>
            <a:off x="1493459" y="2794913"/>
            <a:ext cx="862402" cy="3107857"/>
          </a:xfrm>
          <a:custGeom>
            <a:avLst/>
            <a:gdLst>
              <a:gd name="T0" fmla="*/ 486 w 505"/>
              <a:gd name="T1" fmla="*/ 0 h 1835"/>
              <a:gd name="T2" fmla="*/ 505 w 505"/>
              <a:gd name="T3" fmla="*/ 0 h 1835"/>
              <a:gd name="T4" fmla="*/ 18 w 505"/>
              <a:gd name="T5" fmla="*/ 1831 h 1835"/>
              <a:gd name="T6" fmla="*/ 0 w 505"/>
              <a:gd name="T7" fmla="*/ 1835 h 1835"/>
              <a:gd name="T8" fmla="*/ 486 w 505"/>
              <a:gd name="T9" fmla="*/ 0 h 1835"/>
            </a:gdLst>
            <a:ahLst/>
            <a:cxnLst>
              <a:cxn ang="0">
                <a:pos x="T0" y="T1"/>
              </a:cxn>
              <a:cxn ang="0">
                <a:pos x="T2" y="T3"/>
              </a:cxn>
              <a:cxn ang="0">
                <a:pos x="T4" y="T5"/>
              </a:cxn>
              <a:cxn ang="0">
                <a:pos x="T6" y="T7"/>
              </a:cxn>
              <a:cxn ang="0">
                <a:pos x="T8" y="T9"/>
              </a:cxn>
            </a:cxnLst>
            <a:rect l="0" t="0" r="r" b="b"/>
            <a:pathLst>
              <a:path w="505" h="1835">
                <a:moveTo>
                  <a:pt x="486" y="0"/>
                </a:moveTo>
                <a:lnTo>
                  <a:pt x="505" y="0"/>
                </a:lnTo>
                <a:lnTo>
                  <a:pt x="18" y="1831"/>
                </a:lnTo>
                <a:lnTo>
                  <a:pt x="0" y="1835"/>
                </a:lnTo>
                <a:lnTo>
                  <a:pt x="486" y="0"/>
                </a:ln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42">
            <a:extLst>
              <a:ext uri="{FF2B5EF4-FFF2-40B4-BE49-F238E27FC236}">
                <a16:creationId xmlns:a16="http://schemas.microsoft.com/office/drawing/2014/main" id="{01FEE9F0-FA8D-D841-A44A-4E240DB16F72}"/>
              </a:ext>
            </a:extLst>
          </p:cNvPr>
          <p:cNvSpPr>
            <a:spLocks/>
          </p:cNvSpPr>
          <p:nvPr/>
        </p:nvSpPr>
        <p:spPr bwMode="auto">
          <a:xfrm>
            <a:off x="2219243" y="3050655"/>
            <a:ext cx="256160" cy="128718"/>
          </a:xfrm>
          <a:custGeom>
            <a:avLst/>
            <a:gdLst>
              <a:gd name="T0" fmla="*/ 0 w 150"/>
              <a:gd name="T1" fmla="*/ 76 h 76"/>
              <a:gd name="T2" fmla="*/ 150 w 150"/>
              <a:gd name="T3" fmla="*/ 0 h 76"/>
              <a:gd name="T4" fmla="*/ 147 w 150"/>
              <a:gd name="T5" fmla="*/ 13 h 76"/>
              <a:gd name="T6" fmla="*/ 21 w 150"/>
              <a:gd name="T7" fmla="*/ 75 h 76"/>
              <a:gd name="T8" fmla="*/ 0 w 150"/>
              <a:gd name="T9" fmla="*/ 76 h 76"/>
            </a:gdLst>
            <a:ahLst/>
            <a:cxnLst>
              <a:cxn ang="0">
                <a:pos x="T0" y="T1"/>
              </a:cxn>
              <a:cxn ang="0">
                <a:pos x="T2" y="T3"/>
              </a:cxn>
              <a:cxn ang="0">
                <a:pos x="T4" y="T5"/>
              </a:cxn>
              <a:cxn ang="0">
                <a:pos x="T6" y="T7"/>
              </a:cxn>
              <a:cxn ang="0">
                <a:pos x="T8" y="T9"/>
              </a:cxn>
            </a:cxnLst>
            <a:rect l="0" t="0" r="r" b="b"/>
            <a:pathLst>
              <a:path w="150" h="76">
                <a:moveTo>
                  <a:pt x="0" y="76"/>
                </a:moveTo>
                <a:lnTo>
                  <a:pt x="150" y="0"/>
                </a:lnTo>
                <a:lnTo>
                  <a:pt x="147" y="13"/>
                </a:lnTo>
                <a:lnTo>
                  <a:pt x="21" y="75"/>
                </a:lnTo>
                <a:lnTo>
                  <a:pt x="0" y="76"/>
                </a:ln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43">
            <a:extLst>
              <a:ext uri="{FF2B5EF4-FFF2-40B4-BE49-F238E27FC236}">
                <a16:creationId xmlns:a16="http://schemas.microsoft.com/office/drawing/2014/main" id="{E8B0CB39-DB23-8941-ADB4-E9470C9902F1}"/>
              </a:ext>
            </a:extLst>
          </p:cNvPr>
          <p:cNvSpPr>
            <a:spLocks/>
          </p:cNvSpPr>
          <p:nvPr/>
        </p:nvSpPr>
        <p:spPr bwMode="auto">
          <a:xfrm>
            <a:off x="2137272" y="3363981"/>
            <a:ext cx="261282" cy="132106"/>
          </a:xfrm>
          <a:custGeom>
            <a:avLst/>
            <a:gdLst>
              <a:gd name="T0" fmla="*/ 0 w 153"/>
              <a:gd name="T1" fmla="*/ 77 h 78"/>
              <a:gd name="T2" fmla="*/ 153 w 153"/>
              <a:gd name="T3" fmla="*/ 0 h 78"/>
              <a:gd name="T4" fmla="*/ 150 w 153"/>
              <a:gd name="T5" fmla="*/ 16 h 78"/>
              <a:gd name="T6" fmla="*/ 19 w 153"/>
              <a:gd name="T7" fmla="*/ 78 h 78"/>
              <a:gd name="T8" fmla="*/ 0 w 153"/>
              <a:gd name="T9" fmla="*/ 77 h 78"/>
            </a:gdLst>
            <a:ahLst/>
            <a:cxnLst>
              <a:cxn ang="0">
                <a:pos x="T0" y="T1"/>
              </a:cxn>
              <a:cxn ang="0">
                <a:pos x="T2" y="T3"/>
              </a:cxn>
              <a:cxn ang="0">
                <a:pos x="T4" y="T5"/>
              </a:cxn>
              <a:cxn ang="0">
                <a:pos x="T6" y="T7"/>
              </a:cxn>
              <a:cxn ang="0">
                <a:pos x="T8" y="T9"/>
              </a:cxn>
            </a:cxnLst>
            <a:rect l="0" t="0" r="r" b="b"/>
            <a:pathLst>
              <a:path w="153" h="78">
                <a:moveTo>
                  <a:pt x="0" y="77"/>
                </a:moveTo>
                <a:lnTo>
                  <a:pt x="153" y="0"/>
                </a:lnTo>
                <a:lnTo>
                  <a:pt x="150" y="16"/>
                </a:lnTo>
                <a:lnTo>
                  <a:pt x="19" y="78"/>
                </a:lnTo>
                <a:lnTo>
                  <a:pt x="0" y="77"/>
                </a:ln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44">
            <a:extLst>
              <a:ext uri="{FF2B5EF4-FFF2-40B4-BE49-F238E27FC236}">
                <a16:creationId xmlns:a16="http://schemas.microsoft.com/office/drawing/2014/main" id="{4E5EF0F3-F124-6B45-94A1-9C7BA29E10BE}"/>
              </a:ext>
            </a:extLst>
          </p:cNvPr>
          <p:cNvSpPr>
            <a:spLocks/>
          </p:cNvSpPr>
          <p:nvPr/>
        </p:nvSpPr>
        <p:spPr bwMode="auto">
          <a:xfrm>
            <a:off x="1959668" y="4085478"/>
            <a:ext cx="278359" cy="69440"/>
          </a:xfrm>
          <a:custGeom>
            <a:avLst/>
            <a:gdLst>
              <a:gd name="T0" fmla="*/ 0 w 163"/>
              <a:gd name="T1" fmla="*/ 39 h 41"/>
              <a:gd name="T2" fmla="*/ 159 w 163"/>
              <a:gd name="T3" fmla="*/ 0 h 41"/>
              <a:gd name="T4" fmla="*/ 163 w 163"/>
              <a:gd name="T5" fmla="*/ 10 h 41"/>
              <a:gd name="T6" fmla="*/ 19 w 163"/>
              <a:gd name="T7" fmla="*/ 41 h 41"/>
              <a:gd name="T8" fmla="*/ 0 w 163"/>
              <a:gd name="T9" fmla="*/ 39 h 41"/>
            </a:gdLst>
            <a:ahLst/>
            <a:cxnLst>
              <a:cxn ang="0">
                <a:pos x="T0" y="T1"/>
              </a:cxn>
              <a:cxn ang="0">
                <a:pos x="T2" y="T3"/>
              </a:cxn>
              <a:cxn ang="0">
                <a:pos x="T4" y="T5"/>
              </a:cxn>
              <a:cxn ang="0">
                <a:pos x="T6" y="T7"/>
              </a:cxn>
              <a:cxn ang="0">
                <a:pos x="T8" y="T9"/>
              </a:cxn>
            </a:cxnLst>
            <a:rect l="0" t="0" r="r" b="b"/>
            <a:pathLst>
              <a:path w="163" h="41">
                <a:moveTo>
                  <a:pt x="0" y="39"/>
                </a:moveTo>
                <a:lnTo>
                  <a:pt x="159" y="0"/>
                </a:lnTo>
                <a:lnTo>
                  <a:pt x="163" y="10"/>
                </a:lnTo>
                <a:lnTo>
                  <a:pt x="19" y="41"/>
                </a:lnTo>
                <a:lnTo>
                  <a:pt x="0" y="39"/>
                </a:ln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46">
            <a:extLst>
              <a:ext uri="{FF2B5EF4-FFF2-40B4-BE49-F238E27FC236}">
                <a16:creationId xmlns:a16="http://schemas.microsoft.com/office/drawing/2014/main" id="{E76F11D3-D5B1-4A4B-8FC3-0EA810B47D0D}"/>
              </a:ext>
            </a:extLst>
          </p:cNvPr>
          <p:cNvSpPr>
            <a:spLocks/>
          </p:cNvSpPr>
          <p:nvPr/>
        </p:nvSpPr>
        <p:spPr bwMode="auto">
          <a:xfrm>
            <a:off x="1694971" y="5144013"/>
            <a:ext cx="280068" cy="25406"/>
          </a:xfrm>
          <a:custGeom>
            <a:avLst/>
            <a:gdLst>
              <a:gd name="T0" fmla="*/ 0 w 164"/>
              <a:gd name="T1" fmla="*/ 0 h 15"/>
              <a:gd name="T2" fmla="*/ 156 w 164"/>
              <a:gd name="T3" fmla="*/ 15 h 15"/>
              <a:gd name="T4" fmla="*/ 164 w 164"/>
              <a:gd name="T5" fmla="*/ 12 h 15"/>
              <a:gd name="T6" fmla="*/ 18 w 164"/>
              <a:gd name="T7" fmla="*/ 0 h 15"/>
              <a:gd name="T8" fmla="*/ 0 w 164"/>
              <a:gd name="T9" fmla="*/ 0 h 15"/>
            </a:gdLst>
            <a:ahLst/>
            <a:cxnLst>
              <a:cxn ang="0">
                <a:pos x="T0" y="T1"/>
              </a:cxn>
              <a:cxn ang="0">
                <a:pos x="T2" y="T3"/>
              </a:cxn>
              <a:cxn ang="0">
                <a:pos x="T4" y="T5"/>
              </a:cxn>
              <a:cxn ang="0">
                <a:pos x="T6" y="T7"/>
              </a:cxn>
              <a:cxn ang="0">
                <a:pos x="T8" y="T9"/>
              </a:cxn>
            </a:cxnLst>
            <a:rect l="0" t="0" r="r" b="b"/>
            <a:pathLst>
              <a:path w="164" h="15">
                <a:moveTo>
                  <a:pt x="0" y="0"/>
                </a:moveTo>
                <a:lnTo>
                  <a:pt x="156" y="15"/>
                </a:lnTo>
                <a:lnTo>
                  <a:pt x="164" y="12"/>
                </a:lnTo>
                <a:lnTo>
                  <a:pt x="18" y="0"/>
                </a:lnTo>
                <a:lnTo>
                  <a:pt x="0" y="0"/>
                </a:lnTo>
                <a:close/>
              </a:path>
            </a:pathLst>
          </a:custGeom>
          <a:solidFill>
            <a:srgbClr val="D1D1D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47">
            <a:extLst>
              <a:ext uri="{FF2B5EF4-FFF2-40B4-BE49-F238E27FC236}">
                <a16:creationId xmlns:a16="http://schemas.microsoft.com/office/drawing/2014/main" id="{AB88F18E-007C-4649-8057-3B57927B1DF0}"/>
              </a:ext>
            </a:extLst>
          </p:cNvPr>
          <p:cNvSpPr>
            <a:spLocks/>
          </p:cNvSpPr>
          <p:nvPr/>
        </p:nvSpPr>
        <p:spPr bwMode="auto">
          <a:xfrm>
            <a:off x="1595922" y="5511535"/>
            <a:ext cx="271528" cy="54197"/>
          </a:xfrm>
          <a:custGeom>
            <a:avLst/>
            <a:gdLst>
              <a:gd name="T0" fmla="*/ 0 w 159"/>
              <a:gd name="T1" fmla="*/ 0 h 32"/>
              <a:gd name="T2" fmla="*/ 157 w 159"/>
              <a:gd name="T3" fmla="*/ 32 h 32"/>
              <a:gd name="T4" fmla="*/ 159 w 159"/>
              <a:gd name="T5" fmla="*/ 26 h 32"/>
              <a:gd name="T6" fmla="*/ 19 w 159"/>
              <a:gd name="T7" fmla="*/ 0 h 32"/>
              <a:gd name="T8" fmla="*/ 0 w 159"/>
              <a:gd name="T9" fmla="*/ 0 h 32"/>
            </a:gdLst>
            <a:ahLst/>
            <a:cxnLst>
              <a:cxn ang="0">
                <a:pos x="T0" y="T1"/>
              </a:cxn>
              <a:cxn ang="0">
                <a:pos x="T2" y="T3"/>
              </a:cxn>
              <a:cxn ang="0">
                <a:pos x="T4" y="T5"/>
              </a:cxn>
              <a:cxn ang="0">
                <a:pos x="T6" y="T7"/>
              </a:cxn>
              <a:cxn ang="0">
                <a:pos x="T8" y="T9"/>
              </a:cxn>
            </a:cxnLst>
            <a:rect l="0" t="0" r="r" b="b"/>
            <a:pathLst>
              <a:path w="159" h="32">
                <a:moveTo>
                  <a:pt x="0" y="0"/>
                </a:moveTo>
                <a:lnTo>
                  <a:pt x="157" y="32"/>
                </a:lnTo>
                <a:lnTo>
                  <a:pt x="159" y="26"/>
                </a:lnTo>
                <a:lnTo>
                  <a:pt x="19" y="0"/>
                </a:lnTo>
                <a:lnTo>
                  <a:pt x="0" y="0"/>
                </a:lnTo>
                <a:close/>
              </a:path>
            </a:pathLst>
          </a:custGeom>
          <a:solidFill>
            <a:srgbClr val="D1D1D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48">
            <a:extLst>
              <a:ext uri="{FF2B5EF4-FFF2-40B4-BE49-F238E27FC236}">
                <a16:creationId xmlns:a16="http://schemas.microsoft.com/office/drawing/2014/main" id="{86DC3648-24ED-4248-A883-61A40295505F}"/>
              </a:ext>
            </a:extLst>
          </p:cNvPr>
          <p:cNvSpPr>
            <a:spLocks noEditPoints="1"/>
          </p:cNvSpPr>
          <p:nvPr/>
        </p:nvSpPr>
        <p:spPr bwMode="auto">
          <a:xfrm>
            <a:off x="1414903" y="2605223"/>
            <a:ext cx="1244934" cy="3429652"/>
          </a:xfrm>
          <a:custGeom>
            <a:avLst/>
            <a:gdLst>
              <a:gd name="T0" fmla="*/ 672 w 729"/>
              <a:gd name="T1" fmla="*/ 52 h 2025"/>
              <a:gd name="T2" fmla="*/ 637 w 729"/>
              <a:gd name="T3" fmla="*/ 199 h 2025"/>
              <a:gd name="T4" fmla="*/ 489 w 729"/>
              <a:gd name="T5" fmla="*/ 276 h 2025"/>
              <a:gd name="T6" fmla="*/ 532 w 729"/>
              <a:gd name="T7" fmla="*/ 112 h 2025"/>
              <a:gd name="T8" fmla="*/ 485 w 729"/>
              <a:gd name="T9" fmla="*/ 157 h 2025"/>
              <a:gd name="T10" fmla="*/ 0 w 729"/>
              <a:gd name="T11" fmla="*/ 1928 h 2025"/>
              <a:gd name="T12" fmla="*/ 46 w 729"/>
              <a:gd name="T13" fmla="*/ 1947 h 2025"/>
              <a:gd name="T14" fmla="*/ 93 w 729"/>
              <a:gd name="T15" fmla="*/ 1769 h 2025"/>
              <a:gd name="T16" fmla="*/ 248 w 729"/>
              <a:gd name="T17" fmla="*/ 1811 h 2025"/>
              <a:gd name="T18" fmla="*/ 203 w 729"/>
              <a:gd name="T19" fmla="*/ 2001 h 2025"/>
              <a:gd name="T20" fmla="*/ 269 w 729"/>
              <a:gd name="T21" fmla="*/ 2025 h 2025"/>
              <a:gd name="T22" fmla="*/ 729 w 729"/>
              <a:gd name="T23" fmla="*/ 0 h 2025"/>
              <a:gd name="T24" fmla="*/ 672 w 729"/>
              <a:gd name="T25" fmla="*/ 52 h 2025"/>
              <a:gd name="T26" fmla="*/ 621 w 729"/>
              <a:gd name="T27" fmla="*/ 263 h 2025"/>
              <a:gd name="T28" fmla="*/ 592 w 729"/>
              <a:gd name="T29" fmla="*/ 384 h 2025"/>
              <a:gd name="T30" fmla="*/ 438 w 729"/>
              <a:gd name="T31" fmla="*/ 462 h 2025"/>
              <a:gd name="T32" fmla="*/ 471 w 729"/>
              <a:gd name="T33" fmla="*/ 338 h 2025"/>
              <a:gd name="T34" fmla="*/ 621 w 729"/>
              <a:gd name="T35" fmla="*/ 263 h 2025"/>
              <a:gd name="T36" fmla="*/ 220 w 729"/>
              <a:gd name="T37" fmla="*/ 1290 h 2025"/>
              <a:gd name="T38" fmla="*/ 265 w 729"/>
              <a:gd name="T39" fmla="*/ 1120 h 2025"/>
              <a:gd name="T40" fmla="*/ 419 w 729"/>
              <a:gd name="T41" fmla="*/ 1100 h 2025"/>
              <a:gd name="T42" fmla="*/ 376 w 729"/>
              <a:gd name="T43" fmla="*/ 1282 h 2025"/>
              <a:gd name="T44" fmla="*/ 220 w 729"/>
              <a:gd name="T45" fmla="*/ 1290 h 2025"/>
              <a:gd name="T46" fmla="*/ 361 w 729"/>
              <a:gd name="T47" fmla="*/ 1344 h 2025"/>
              <a:gd name="T48" fmla="*/ 320 w 729"/>
              <a:gd name="T49" fmla="*/ 1514 h 2025"/>
              <a:gd name="T50" fmla="*/ 164 w 729"/>
              <a:gd name="T51" fmla="*/ 1499 h 2025"/>
              <a:gd name="T52" fmla="*/ 206 w 729"/>
              <a:gd name="T53" fmla="*/ 1343 h 2025"/>
              <a:gd name="T54" fmla="*/ 361 w 729"/>
              <a:gd name="T55" fmla="*/ 1344 h 2025"/>
              <a:gd name="T56" fmla="*/ 280 w 729"/>
              <a:gd name="T57" fmla="*/ 1064 h 2025"/>
              <a:gd name="T58" fmla="*/ 320 w 729"/>
              <a:gd name="T59" fmla="*/ 913 h 2025"/>
              <a:gd name="T60" fmla="*/ 473 w 729"/>
              <a:gd name="T61" fmla="*/ 877 h 2025"/>
              <a:gd name="T62" fmla="*/ 434 w 729"/>
              <a:gd name="T63" fmla="*/ 1038 h 2025"/>
              <a:gd name="T64" fmla="*/ 280 w 729"/>
              <a:gd name="T65" fmla="*/ 1064 h 2025"/>
              <a:gd name="T66" fmla="*/ 335 w 729"/>
              <a:gd name="T67" fmla="*/ 855 h 2025"/>
              <a:gd name="T68" fmla="*/ 369 w 729"/>
              <a:gd name="T69" fmla="*/ 727 h 2025"/>
              <a:gd name="T70" fmla="*/ 523 w 729"/>
              <a:gd name="T71" fmla="*/ 672 h 2025"/>
              <a:gd name="T72" fmla="*/ 487 w 729"/>
              <a:gd name="T73" fmla="*/ 814 h 2025"/>
              <a:gd name="T74" fmla="*/ 335 w 729"/>
              <a:gd name="T75" fmla="*/ 855 h 2025"/>
              <a:gd name="T76" fmla="*/ 386 w 729"/>
              <a:gd name="T77" fmla="*/ 663 h 2025"/>
              <a:gd name="T78" fmla="*/ 423 w 729"/>
              <a:gd name="T79" fmla="*/ 525 h 2025"/>
              <a:gd name="T80" fmla="*/ 576 w 729"/>
              <a:gd name="T81" fmla="*/ 448 h 2025"/>
              <a:gd name="T82" fmla="*/ 539 w 729"/>
              <a:gd name="T83" fmla="*/ 602 h 2025"/>
              <a:gd name="T84" fmla="*/ 386 w 729"/>
              <a:gd name="T85" fmla="*/ 663 h 2025"/>
              <a:gd name="T86" fmla="*/ 263 w 729"/>
              <a:gd name="T87" fmla="*/ 1748 h 2025"/>
              <a:gd name="T88" fmla="*/ 107 w 729"/>
              <a:gd name="T89" fmla="*/ 1716 h 2025"/>
              <a:gd name="T90" fmla="*/ 149 w 729"/>
              <a:gd name="T91" fmla="*/ 1558 h 2025"/>
              <a:gd name="T92" fmla="*/ 304 w 729"/>
              <a:gd name="T93" fmla="*/ 1576 h 2025"/>
              <a:gd name="T94" fmla="*/ 263 w 729"/>
              <a:gd name="T95" fmla="*/ 1748 h 2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9" h="2025">
                <a:moveTo>
                  <a:pt x="672" y="52"/>
                </a:moveTo>
                <a:lnTo>
                  <a:pt x="637" y="199"/>
                </a:lnTo>
                <a:lnTo>
                  <a:pt x="489" y="276"/>
                </a:lnTo>
                <a:lnTo>
                  <a:pt x="532" y="112"/>
                </a:lnTo>
                <a:lnTo>
                  <a:pt x="485" y="157"/>
                </a:lnTo>
                <a:lnTo>
                  <a:pt x="0" y="1928"/>
                </a:lnTo>
                <a:lnTo>
                  <a:pt x="46" y="1947"/>
                </a:lnTo>
                <a:lnTo>
                  <a:pt x="93" y="1769"/>
                </a:lnTo>
                <a:lnTo>
                  <a:pt x="248" y="1811"/>
                </a:lnTo>
                <a:lnTo>
                  <a:pt x="203" y="2001"/>
                </a:lnTo>
                <a:lnTo>
                  <a:pt x="269" y="2025"/>
                </a:lnTo>
                <a:lnTo>
                  <a:pt x="729" y="0"/>
                </a:lnTo>
                <a:lnTo>
                  <a:pt x="672" y="52"/>
                </a:lnTo>
                <a:close/>
                <a:moveTo>
                  <a:pt x="621" y="263"/>
                </a:moveTo>
                <a:lnTo>
                  <a:pt x="592" y="384"/>
                </a:lnTo>
                <a:lnTo>
                  <a:pt x="438" y="462"/>
                </a:lnTo>
                <a:lnTo>
                  <a:pt x="471" y="338"/>
                </a:lnTo>
                <a:lnTo>
                  <a:pt x="621" y="263"/>
                </a:lnTo>
                <a:close/>
                <a:moveTo>
                  <a:pt x="220" y="1290"/>
                </a:moveTo>
                <a:lnTo>
                  <a:pt x="265" y="1120"/>
                </a:lnTo>
                <a:lnTo>
                  <a:pt x="419" y="1100"/>
                </a:lnTo>
                <a:lnTo>
                  <a:pt x="376" y="1282"/>
                </a:lnTo>
                <a:lnTo>
                  <a:pt x="220" y="1290"/>
                </a:lnTo>
                <a:close/>
                <a:moveTo>
                  <a:pt x="361" y="1344"/>
                </a:moveTo>
                <a:lnTo>
                  <a:pt x="320" y="1514"/>
                </a:lnTo>
                <a:lnTo>
                  <a:pt x="164" y="1499"/>
                </a:lnTo>
                <a:lnTo>
                  <a:pt x="206" y="1343"/>
                </a:lnTo>
                <a:lnTo>
                  <a:pt x="361" y="1344"/>
                </a:lnTo>
                <a:close/>
                <a:moveTo>
                  <a:pt x="280" y="1064"/>
                </a:moveTo>
                <a:lnTo>
                  <a:pt x="320" y="913"/>
                </a:lnTo>
                <a:lnTo>
                  <a:pt x="473" y="877"/>
                </a:lnTo>
                <a:lnTo>
                  <a:pt x="434" y="1038"/>
                </a:lnTo>
                <a:lnTo>
                  <a:pt x="280" y="1064"/>
                </a:lnTo>
                <a:close/>
                <a:moveTo>
                  <a:pt x="335" y="855"/>
                </a:moveTo>
                <a:lnTo>
                  <a:pt x="369" y="727"/>
                </a:lnTo>
                <a:lnTo>
                  <a:pt x="523" y="672"/>
                </a:lnTo>
                <a:lnTo>
                  <a:pt x="487" y="814"/>
                </a:lnTo>
                <a:lnTo>
                  <a:pt x="335" y="855"/>
                </a:lnTo>
                <a:close/>
                <a:moveTo>
                  <a:pt x="386" y="663"/>
                </a:moveTo>
                <a:lnTo>
                  <a:pt x="423" y="525"/>
                </a:lnTo>
                <a:lnTo>
                  <a:pt x="576" y="448"/>
                </a:lnTo>
                <a:lnTo>
                  <a:pt x="539" y="602"/>
                </a:lnTo>
                <a:lnTo>
                  <a:pt x="386" y="663"/>
                </a:lnTo>
                <a:close/>
                <a:moveTo>
                  <a:pt x="263" y="1748"/>
                </a:moveTo>
                <a:lnTo>
                  <a:pt x="107" y="1716"/>
                </a:lnTo>
                <a:lnTo>
                  <a:pt x="149" y="1558"/>
                </a:lnTo>
                <a:lnTo>
                  <a:pt x="304" y="1576"/>
                </a:lnTo>
                <a:lnTo>
                  <a:pt x="263" y="1748"/>
                </a:ln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49">
            <a:extLst>
              <a:ext uri="{FF2B5EF4-FFF2-40B4-BE49-F238E27FC236}">
                <a16:creationId xmlns:a16="http://schemas.microsoft.com/office/drawing/2014/main" id="{4C4B73DE-FCB2-FD49-8AE6-EC6C83CBE999}"/>
              </a:ext>
            </a:extLst>
          </p:cNvPr>
          <p:cNvSpPr>
            <a:spLocks/>
          </p:cNvSpPr>
          <p:nvPr/>
        </p:nvSpPr>
        <p:spPr bwMode="auto">
          <a:xfrm>
            <a:off x="1865744" y="2605223"/>
            <a:ext cx="816294" cy="3429652"/>
          </a:xfrm>
          <a:custGeom>
            <a:avLst/>
            <a:gdLst>
              <a:gd name="T0" fmla="*/ 459 w 478"/>
              <a:gd name="T1" fmla="*/ 0 h 2025"/>
              <a:gd name="T2" fmla="*/ 478 w 478"/>
              <a:gd name="T3" fmla="*/ 0 h 2025"/>
              <a:gd name="T4" fmla="*/ 34 w 478"/>
              <a:gd name="T5" fmla="*/ 2017 h 2025"/>
              <a:gd name="T6" fmla="*/ 0 w 478"/>
              <a:gd name="T7" fmla="*/ 2025 h 2025"/>
              <a:gd name="T8" fmla="*/ 459 w 478"/>
              <a:gd name="T9" fmla="*/ 0 h 2025"/>
            </a:gdLst>
            <a:ahLst/>
            <a:cxnLst>
              <a:cxn ang="0">
                <a:pos x="T0" y="T1"/>
              </a:cxn>
              <a:cxn ang="0">
                <a:pos x="T2" y="T3"/>
              </a:cxn>
              <a:cxn ang="0">
                <a:pos x="T4" y="T5"/>
              </a:cxn>
              <a:cxn ang="0">
                <a:pos x="T6" y="T7"/>
              </a:cxn>
              <a:cxn ang="0">
                <a:pos x="T8" y="T9"/>
              </a:cxn>
            </a:cxnLst>
            <a:rect l="0" t="0" r="r" b="b"/>
            <a:pathLst>
              <a:path w="478" h="2025">
                <a:moveTo>
                  <a:pt x="459" y="0"/>
                </a:moveTo>
                <a:lnTo>
                  <a:pt x="478" y="0"/>
                </a:lnTo>
                <a:lnTo>
                  <a:pt x="34" y="2017"/>
                </a:lnTo>
                <a:lnTo>
                  <a:pt x="0" y="2025"/>
                </a:lnTo>
                <a:lnTo>
                  <a:pt x="459" y="0"/>
                </a:ln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04">
            <a:extLst>
              <a:ext uri="{FF2B5EF4-FFF2-40B4-BE49-F238E27FC236}">
                <a16:creationId xmlns:a16="http://schemas.microsoft.com/office/drawing/2014/main" id="{F802738A-BA30-D14A-B399-85548E409AD4}"/>
              </a:ext>
            </a:extLst>
          </p:cNvPr>
          <p:cNvSpPr>
            <a:spLocks noEditPoints="1"/>
          </p:cNvSpPr>
          <p:nvPr/>
        </p:nvSpPr>
        <p:spPr bwMode="auto">
          <a:xfrm>
            <a:off x="2594168" y="3702612"/>
            <a:ext cx="472884" cy="463866"/>
          </a:xfrm>
          <a:custGeom>
            <a:avLst/>
            <a:gdLst>
              <a:gd name="T0" fmla="*/ 85 w 186"/>
              <a:gd name="T1" fmla="*/ 93 h 185"/>
              <a:gd name="T2" fmla="*/ 101 w 186"/>
              <a:gd name="T3" fmla="*/ 93 h 185"/>
              <a:gd name="T4" fmla="*/ 186 w 186"/>
              <a:gd name="T5" fmla="*/ 93 h 185"/>
              <a:gd name="T6" fmla="*/ 159 w 186"/>
              <a:gd name="T7" fmla="*/ 27 h 185"/>
              <a:gd name="T8" fmla="*/ 93 w 186"/>
              <a:gd name="T9" fmla="*/ 0 h 185"/>
              <a:gd name="T10" fmla="*/ 27 w 186"/>
              <a:gd name="T11" fmla="*/ 27 h 185"/>
              <a:gd name="T12" fmla="*/ 0 w 186"/>
              <a:gd name="T13" fmla="*/ 93 h 185"/>
              <a:gd name="T14" fmla="*/ 27 w 186"/>
              <a:gd name="T15" fmla="*/ 158 h 185"/>
              <a:gd name="T16" fmla="*/ 93 w 186"/>
              <a:gd name="T17" fmla="*/ 185 h 185"/>
              <a:gd name="T18" fmla="*/ 159 w 186"/>
              <a:gd name="T19" fmla="*/ 158 h 185"/>
              <a:gd name="T20" fmla="*/ 186 w 186"/>
              <a:gd name="T21" fmla="*/ 93 h 185"/>
              <a:gd name="T22" fmla="*/ 36 w 186"/>
              <a:gd name="T23" fmla="*/ 74 h 185"/>
              <a:gd name="T24" fmla="*/ 36 w 186"/>
              <a:gd name="T25" fmla="*/ 111 h 185"/>
              <a:gd name="T26" fmla="*/ 60 w 186"/>
              <a:gd name="T27" fmla="*/ 79 h 185"/>
              <a:gd name="T28" fmla="*/ 44 w 186"/>
              <a:gd name="T29" fmla="*/ 72 h 185"/>
              <a:gd name="T30" fmla="*/ 60 w 186"/>
              <a:gd name="T31" fmla="*/ 79 h 185"/>
              <a:gd name="T32" fmla="*/ 44 w 186"/>
              <a:gd name="T33" fmla="*/ 113 h 185"/>
              <a:gd name="T34" fmla="*/ 60 w 186"/>
              <a:gd name="T35" fmla="*/ 107 h 185"/>
              <a:gd name="T36" fmla="*/ 33 w 186"/>
              <a:gd name="T37" fmla="*/ 152 h 185"/>
              <a:gd name="T38" fmla="*/ 61 w 186"/>
              <a:gd name="T39" fmla="*/ 124 h 185"/>
              <a:gd name="T40" fmla="*/ 33 w 186"/>
              <a:gd name="T41" fmla="*/ 152 h 185"/>
              <a:gd name="T42" fmla="*/ 39 w 186"/>
              <a:gd name="T43" fmla="*/ 65 h 185"/>
              <a:gd name="T44" fmla="*/ 66 w 186"/>
              <a:gd name="T45" fmla="*/ 39 h 185"/>
              <a:gd name="T46" fmla="*/ 116 w 186"/>
              <a:gd name="T47" fmla="*/ 60 h 185"/>
              <a:gd name="T48" fmla="*/ 100 w 186"/>
              <a:gd name="T49" fmla="*/ 53 h 185"/>
              <a:gd name="T50" fmla="*/ 116 w 186"/>
              <a:gd name="T51" fmla="*/ 60 h 185"/>
              <a:gd name="T52" fmla="*/ 112 w 186"/>
              <a:gd name="T53" fmla="*/ 35 h 185"/>
              <a:gd name="T54" fmla="*/ 74 w 186"/>
              <a:gd name="T55" fmla="*/ 35 h 185"/>
              <a:gd name="T56" fmla="*/ 73 w 186"/>
              <a:gd name="T57" fmla="*/ 43 h 185"/>
              <a:gd name="T58" fmla="*/ 79 w 186"/>
              <a:gd name="T59" fmla="*/ 59 h 185"/>
              <a:gd name="T60" fmla="*/ 73 w 186"/>
              <a:gd name="T61" fmla="*/ 43 h 185"/>
              <a:gd name="T62" fmla="*/ 79 w 186"/>
              <a:gd name="T63" fmla="*/ 126 h 185"/>
              <a:gd name="T64" fmla="*/ 73 w 186"/>
              <a:gd name="T65" fmla="*/ 142 h 185"/>
              <a:gd name="T66" fmla="*/ 93 w 186"/>
              <a:gd name="T67" fmla="*/ 177 h 185"/>
              <a:gd name="T68" fmla="*/ 93 w 186"/>
              <a:gd name="T69" fmla="*/ 137 h 185"/>
              <a:gd name="T70" fmla="*/ 93 w 186"/>
              <a:gd name="T71" fmla="*/ 177 h 185"/>
              <a:gd name="T72" fmla="*/ 100 w 186"/>
              <a:gd name="T73" fmla="*/ 132 h 185"/>
              <a:gd name="T74" fmla="*/ 116 w 186"/>
              <a:gd name="T75" fmla="*/ 125 h 185"/>
              <a:gd name="T76" fmla="*/ 118 w 186"/>
              <a:gd name="T77" fmla="*/ 103 h 185"/>
              <a:gd name="T78" fmla="*/ 103 w 186"/>
              <a:gd name="T79" fmla="*/ 118 h 185"/>
              <a:gd name="T80" fmla="*/ 83 w 186"/>
              <a:gd name="T81" fmla="*/ 118 h 185"/>
              <a:gd name="T82" fmla="*/ 68 w 186"/>
              <a:gd name="T83" fmla="*/ 103 h 185"/>
              <a:gd name="T84" fmla="*/ 68 w 186"/>
              <a:gd name="T85" fmla="*/ 82 h 185"/>
              <a:gd name="T86" fmla="*/ 83 w 186"/>
              <a:gd name="T87" fmla="*/ 68 h 185"/>
              <a:gd name="T88" fmla="*/ 103 w 186"/>
              <a:gd name="T89" fmla="*/ 68 h 185"/>
              <a:gd name="T90" fmla="*/ 118 w 186"/>
              <a:gd name="T91" fmla="*/ 82 h 185"/>
              <a:gd name="T92" fmla="*/ 118 w 186"/>
              <a:gd name="T93" fmla="*/ 103 h 185"/>
              <a:gd name="T94" fmla="*/ 147 w 186"/>
              <a:gd name="T95" fmla="*/ 65 h 185"/>
              <a:gd name="T96" fmla="*/ 120 w 186"/>
              <a:gd name="T97" fmla="*/ 39 h 185"/>
              <a:gd name="T98" fmla="*/ 133 w 186"/>
              <a:gd name="T99" fmla="*/ 86 h 185"/>
              <a:gd name="T100" fmla="*/ 126 w 186"/>
              <a:gd name="T101" fmla="*/ 69 h 185"/>
              <a:gd name="T102" fmla="*/ 133 w 186"/>
              <a:gd name="T103" fmla="*/ 86 h 185"/>
              <a:gd name="T104" fmla="*/ 142 w 186"/>
              <a:gd name="T105" fmla="*/ 113 h 185"/>
              <a:gd name="T106" fmla="*/ 126 w 186"/>
              <a:gd name="T107" fmla="*/ 107 h 185"/>
              <a:gd name="T108" fmla="*/ 153 w 186"/>
              <a:gd name="T109" fmla="*/ 152 h 185"/>
              <a:gd name="T110" fmla="*/ 125 w 186"/>
              <a:gd name="T111" fmla="*/ 124 h 185"/>
              <a:gd name="T112" fmla="*/ 153 w 186"/>
              <a:gd name="T113" fmla="*/ 152 h 185"/>
              <a:gd name="T114" fmla="*/ 138 w 186"/>
              <a:gd name="T115" fmla="*/ 93 h 185"/>
              <a:gd name="T116" fmla="*/ 177 w 186"/>
              <a:gd name="T117" fmla="*/ 9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6" h="185">
                <a:moveTo>
                  <a:pt x="93" y="84"/>
                </a:moveTo>
                <a:cubicBezTo>
                  <a:pt x="88" y="84"/>
                  <a:pt x="85" y="88"/>
                  <a:pt x="85" y="93"/>
                </a:cubicBezTo>
                <a:cubicBezTo>
                  <a:pt x="85" y="97"/>
                  <a:pt x="88" y="101"/>
                  <a:pt x="93" y="101"/>
                </a:cubicBezTo>
                <a:cubicBezTo>
                  <a:pt x="98" y="101"/>
                  <a:pt x="101" y="97"/>
                  <a:pt x="101" y="93"/>
                </a:cubicBezTo>
                <a:cubicBezTo>
                  <a:pt x="101" y="88"/>
                  <a:pt x="98" y="84"/>
                  <a:pt x="93" y="84"/>
                </a:cubicBezTo>
                <a:close/>
                <a:moveTo>
                  <a:pt x="186" y="93"/>
                </a:moveTo>
                <a:cubicBezTo>
                  <a:pt x="186" y="83"/>
                  <a:pt x="174" y="74"/>
                  <a:pt x="154" y="67"/>
                </a:cubicBezTo>
                <a:cubicBezTo>
                  <a:pt x="163" y="49"/>
                  <a:pt x="166" y="34"/>
                  <a:pt x="159" y="27"/>
                </a:cubicBezTo>
                <a:cubicBezTo>
                  <a:pt x="151" y="20"/>
                  <a:pt x="136" y="22"/>
                  <a:pt x="118" y="32"/>
                </a:cubicBezTo>
                <a:cubicBezTo>
                  <a:pt x="112" y="12"/>
                  <a:pt x="103" y="0"/>
                  <a:pt x="93" y="0"/>
                </a:cubicBezTo>
                <a:cubicBezTo>
                  <a:pt x="83" y="0"/>
                  <a:pt x="74" y="12"/>
                  <a:pt x="68" y="32"/>
                </a:cubicBezTo>
                <a:cubicBezTo>
                  <a:pt x="50" y="22"/>
                  <a:pt x="35" y="20"/>
                  <a:pt x="27" y="27"/>
                </a:cubicBezTo>
                <a:cubicBezTo>
                  <a:pt x="20" y="34"/>
                  <a:pt x="23" y="49"/>
                  <a:pt x="32" y="67"/>
                </a:cubicBezTo>
                <a:cubicBezTo>
                  <a:pt x="12" y="74"/>
                  <a:pt x="0" y="83"/>
                  <a:pt x="0" y="93"/>
                </a:cubicBezTo>
                <a:cubicBezTo>
                  <a:pt x="0" y="103"/>
                  <a:pt x="12" y="112"/>
                  <a:pt x="32" y="118"/>
                </a:cubicBezTo>
                <a:cubicBezTo>
                  <a:pt x="23" y="136"/>
                  <a:pt x="20" y="151"/>
                  <a:pt x="27" y="158"/>
                </a:cubicBezTo>
                <a:cubicBezTo>
                  <a:pt x="35" y="165"/>
                  <a:pt x="50" y="163"/>
                  <a:pt x="68" y="154"/>
                </a:cubicBezTo>
                <a:cubicBezTo>
                  <a:pt x="74" y="173"/>
                  <a:pt x="83" y="185"/>
                  <a:pt x="93" y="185"/>
                </a:cubicBezTo>
                <a:cubicBezTo>
                  <a:pt x="103" y="185"/>
                  <a:pt x="112" y="173"/>
                  <a:pt x="118" y="154"/>
                </a:cubicBezTo>
                <a:cubicBezTo>
                  <a:pt x="136" y="163"/>
                  <a:pt x="151" y="165"/>
                  <a:pt x="159" y="158"/>
                </a:cubicBezTo>
                <a:cubicBezTo>
                  <a:pt x="166" y="151"/>
                  <a:pt x="163" y="136"/>
                  <a:pt x="154" y="118"/>
                </a:cubicBezTo>
                <a:cubicBezTo>
                  <a:pt x="174" y="112"/>
                  <a:pt x="186" y="103"/>
                  <a:pt x="186" y="93"/>
                </a:cubicBezTo>
                <a:close/>
                <a:moveTo>
                  <a:pt x="9" y="93"/>
                </a:moveTo>
                <a:cubicBezTo>
                  <a:pt x="9" y="85"/>
                  <a:pt x="19" y="79"/>
                  <a:pt x="36" y="74"/>
                </a:cubicBezTo>
                <a:cubicBezTo>
                  <a:pt x="39" y="80"/>
                  <a:pt x="43" y="86"/>
                  <a:pt x="48" y="93"/>
                </a:cubicBezTo>
                <a:cubicBezTo>
                  <a:pt x="43" y="99"/>
                  <a:pt x="39" y="105"/>
                  <a:pt x="36" y="111"/>
                </a:cubicBezTo>
                <a:cubicBezTo>
                  <a:pt x="19" y="107"/>
                  <a:pt x="9" y="100"/>
                  <a:pt x="9" y="93"/>
                </a:cubicBezTo>
                <a:close/>
                <a:moveTo>
                  <a:pt x="60" y="79"/>
                </a:moveTo>
                <a:cubicBezTo>
                  <a:pt x="58" y="81"/>
                  <a:pt x="55" y="84"/>
                  <a:pt x="53" y="86"/>
                </a:cubicBezTo>
                <a:cubicBezTo>
                  <a:pt x="50" y="81"/>
                  <a:pt x="46" y="77"/>
                  <a:pt x="44" y="72"/>
                </a:cubicBezTo>
                <a:cubicBezTo>
                  <a:pt x="49" y="71"/>
                  <a:pt x="54" y="70"/>
                  <a:pt x="60" y="69"/>
                </a:cubicBezTo>
                <a:cubicBezTo>
                  <a:pt x="60" y="72"/>
                  <a:pt x="60" y="76"/>
                  <a:pt x="60" y="79"/>
                </a:cubicBezTo>
                <a:close/>
                <a:moveTo>
                  <a:pt x="60" y="116"/>
                </a:moveTo>
                <a:cubicBezTo>
                  <a:pt x="54" y="115"/>
                  <a:pt x="49" y="114"/>
                  <a:pt x="44" y="113"/>
                </a:cubicBezTo>
                <a:cubicBezTo>
                  <a:pt x="46" y="109"/>
                  <a:pt x="50" y="104"/>
                  <a:pt x="53" y="99"/>
                </a:cubicBezTo>
                <a:cubicBezTo>
                  <a:pt x="55" y="102"/>
                  <a:pt x="58" y="104"/>
                  <a:pt x="60" y="107"/>
                </a:cubicBezTo>
                <a:cubicBezTo>
                  <a:pt x="60" y="110"/>
                  <a:pt x="60" y="113"/>
                  <a:pt x="60" y="116"/>
                </a:cubicBezTo>
                <a:close/>
                <a:moveTo>
                  <a:pt x="33" y="152"/>
                </a:moveTo>
                <a:cubicBezTo>
                  <a:pt x="28" y="147"/>
                  <a:pt x="31" y="135"/>
                  <a:pt x="39" y="120"/>
                </a:cubicBezTo>
                <a:cubicBezTo>
                  <a:pt x="46" y="122"/>
                  <a:pt x="53" y="123"/>
                  <a:pt x="61" y="124"/>
                </a:cubicBezTo>
                <a:cubicBezTo>
                  <a:pt x="62" y="132"/>
                  <a:pt x="64" y="140"/>
                  <a:pt x="66" y="146"/>
                </a:cubicBezTo>
                <a:cubicBezTo>
                  <a:pt x="51" y="155"/>
                  <a:pt x="39" y="158"/>
                  <a:pt x="33" y="152"/>
                </a:cubicBezTo>
                <a:close/>
                <a:moveTo>
                  <a:pt x="61" y="61"/>
                </a:moveTo>
                <a:cubicBezTo>
                  <a:pt x="53" y="62"/>
                  <a:pt x="46" y="63"/>
                  <a:pt x="39" y="65"/>
                </a:cubicBezTo>
                <a:cubicBezTo>
                  <a:pt x="31" y="50"/>
                  <a:pt x="28" y="38"/>
                  <a:pt x="33" y="33"/>
                </a:cubicBezTo>
                <a:cubicBezTo>
                  <a:pt x="39" y="28"/>
                  <a:pt x="51" y="31"/>
                  <a:pt x="66" y="39"/>
                </a:cubicBezTo>
                <a:cubicBezTo>
                  <a:pt x="64" y="46"/>
                  <a:pt x="62" y="53"/>
                  <a:pt x="61" y="61"/>
                </a:cubicBezTo>
                <a:close/>
                <a:moveTo>
                  <a:pt x="116" y="60"/>
                </a:moveTo>
                <a:cubicBezTo>
                  <a:pt x="113" y="60"/>
                  <a:pt x="110" y="60"/>
                  <a:pt x="107" y="59"/>
                </a:cubicBezTo>
                <a:cubicBezTo>
                  <a:pt x="104" y="57"/>
                  <a:pt x="102" y="55"/>
                  <a:pt x="100" y="53"/>
                </a:cubicBezTo>
                <a:cubicBezTo>
                  <a:pt x="104" y="49"/>
                  <a:pt x="109" y="46"/>
                  <a:pt x="114" y="43"/>
                </a:cubicBezTo>
                <a:cubicBezTo>
                  <a:pt x="115" y="48"/>
                  <a:pt x="116" y="54"/>
                  <a:pt x="116" y="60"/>
                </a:cubicBezTo>
                <a:close/>
                <a:moveTo>
                  <a:pt x="93" y="8"/>
                </a:moveTo>
                <a:cubicBezTo>
                  <a:pt x="100" y="8"/>
                  <a:pt x="107" y="19"/>
                  <a:pt x="112" y="35"/>
                </a:cubicBezTo>
                <a:cubicBezTo>
                  <a:pt x="106" y="39"/>
                  <a:pt x="99" y="43"/>
                  <a:pt x="93" y="48"/>
                </a:cubicBezTo>
                <a:cubicBezTo>
                  <a:pt x="87" y="43"/>
                  <a:pt x="80" y="39"/>
                  <a:pt x="74" y="35"/>
                </a:cubicBezTo>
                <a:cubicBezTo>
                  <a:pt x="79" y="19"/>
                  <a:pt x="86" y="8"/>
                  <a:pt x="93" y="8"/>
                </a:cubicBezTo>
                <a:close/>
                <a:moveTo>
                  <a:pt x="73" y="43"/>
                </a:moveTo>
                <a:cubicBezTo>
                  <a:pt x="77" y="46"/>
                  <a:pt x="82" y="49"/>
                  <a:pt x="86" y="53"/>
                </a:cubicBezTo>
                <a:cubicBezTo>
                  <a:pt x="84" y="55"/>
                  <a:pt x="82" y="57"/>
                  <a:pt x="79" y="59"/>
                </a:cubicBezTo>
                <a:cubicBezTo>
                  <a:pt x="76" y="60"/>
                  <a:pt x="73" y="60"/>
                  <a:pt x="70" y="60"/>
                </a:cubicBezTo>
                <a:cubicBezTo>
                  <a:pt x="70" y="54"/>
                  <a:pt x="71" y="48"/>
                  <a:pt x="73" y="43"/>
                </a:cubicBezTo>
                <a:close/>
                <a:moveTo>
                  <a:pt x="70" y="125"/>
                </a:moveTo>
                <a:cubicBezTo>
                  <a:pt x="73" y="126"/>
                  <a:pt x="76" y="126"/>
                  <a:pt x="79" y="126"/>
                </a:cubicBezTo>
                <a:cubicBezTo>
                  <a:pt x="82" y="128"/>
                  <a:pt x="84" y="130"/>
                  <a:pt x="86" y="132"/>
                </a:cubicBezTo>
                <a:cubicBezTo>
                  <a:pt x="82" y="136"/>
                  <a:pt x="77" y="139"/>
                  <a:pt x="73" y="142"/>
                </a:cubicBezTo>
                <a:cubicBezTo>
                  <a:pt x="71" y="137"/>
                  <a:pt x="70" y="131"/>
                  <a:pt x="70" y="125"/>
                </a:cubicBezTo>
                <a:close/>
                <a:moveTo>
                  <a:pt x="93" y="177"/>
                </a:moveTo>
                <a:cubicBezTo>
                  <a:pt x="86" y="177"/>
                  <a:pt x="79" y="167"/>
                  <a:pt x="74" y="150"/>
                </a:cubicBezTo>
                <a:cubicBezTo>
                  <a:pt x="80" y="147"/>
                  <a:pt x="87" y="142"/>
                  <a:pt x="93" y="137"/>
                </a:cubicBezTo>
                <a:cubicBezTo>
                  <a:pt x="99" y="142"/>
                  <a:pt x="106" y="147"/>
                  <a:pt x="112" y="150"/>
                </a:cubicBezTo>
                <a:cubicBezTo>
                  <a:pt x="107" y="167"/>
                  <a:pt x="100" y="177"/>
                  <a:pt x="93" y="177"/>
                </a:cubicBezTo>
                <a:close/>
                <a:moveTo>
                  <a:pt x="114" y="142"/>
                </a:moveTo>
                <a:cubicBezTo>
                  <a:pt x="109" y="139"/>
                  <a:pt x="104" y="136"/>
                  <a:pt x="100" y="132"/>
                </a:cubicBezTo>
                <a:cubicBezTo>
                  <a:pt x="102" y="130"/>
                  <a:pt x="104" y="128"/>
                  <a:pt x="107" y="126"/>
                </a:cubicBezTo>
                <a:cubicBezTo>
                  <a:pt x="110" y="126"/>
                  <a:pt x="113" y="126"/>
                  <a:pt x="116" y="125"/>
                </a:cubicBezTo>
                <a:cubicBezTo>
                  <a:pt x="116" y="131"/>
                  <a:pt x="115" y="137"/>
                  <a:pt x="114" y="142"/>
                </a:cubicBezTo>
                <a:close/>
                <a:moveTo>
                  <a:pt x="118" y="103"/>
                </a:moveTo>
                <a:cubicBezTo>
                  <a:pt x="116" y="106"/>
                  <a:pt x="113" y="108"/>
                  <a:pt x="111" y="111"/>
                </a:cubicBezTo>
                <a:cubicBezTo>
                  <a:pt x="108" y="113"/>
                  <a:pt x="106" y="115"/>
                  <a:pt x="103" y="118"/>
                </a:cubicBezTo>
                <a:cubicBezTo>
                  <a:pt x="100" y="118"/>
                  <a:pt x="97" y="118"/>
                  <a:pt x="93" y="118"/>
                </a:cubicBezTo>
                <a:cubicBezTo>
                  <a:pt x="89" y="118"/>
                  <a:pt x="86" y="118"/>
                  <a:pt x="83" y="118"/>
                </a:cubicBezTo>
                <a:cubicBezTo>
                  <a:pt x="80" y="115"/>
                  <a:pt x="78" y="113"/>
                  <a:pt x="75" y="111"/>
                </a:cubicBezTo>
                <a:cubicBezTo>
                  <a:pt x="73" y="108"/>
                  <a:pt x="70" y="106"/>
                  <a:pt x="68" y="103"/>
                </a:cubicBezTo>
                <a:cubicBezTo>
                  <a:pt x="68" y="100"/>
                  <a:pt x="68" y="96"/>
                  <a:pt x="68" y="93"/>
                </a:cubicBezTo>
                <a:cubicBezTo>
                  <a:pt x="68" y="89"/>
                  <a:pt x="68" y="86"/>
                  <a:pt x="68" y="82"/>
                </a:cubicBezTo>
                <a:cubicBezTo>
                  <a:pt x="70" y="80"/>
                  <a:pt x="73" y="77"/>
                  <a:pt x="75" y="75"/>
                </a:cubicBezTo>
                <a:cubicBezTo>
                  <a:pt x="78" y="72"/>
                  <a:pt x="80" y="70"/>
                  <a:pt x="83" y="68"/>
                </a:cubicBezTo>
                <a:cubicBezTo>
                  <a:pt x="86" y="67"/>
                  <a:pt x="89" y="67"/>
                  <a:pt x="93" y="67"/>
                </a:cubicBezTo>
                <a:cubicBezTo>
                  <a:pt x="97" y="67"/>
                  <a:pt x="100" y="67"/>
                  <a:pt x="103" y="68"/>
                </a:cubicBezTo>
                <a:cubicBezTo>
                  <a:pt x="106" y="70"/>
                  <a:pt x="108" y="72"/>
                  <a:pt x="111" y="75"/>
                </a:cubicBezTo>
                <a:cubicBezTo>
                  <a:pt x="113" y="77"/>
                  <a:pt x="116" y="80"/>
                  <a:pt x="118" y="82"/>
                </a:cubicBezTo>
                <a:cubicBezTo>
                  <a:pt x="118" y="86"/>
                  <a:pt x="118" y="89"/>
                  <a:pt x="118" y="93"/>
                </a:cubicBezTo>
                <a:cubicBezTo>
                  <a:pt x="118" y="96"/>
                  <a:pt x="118" y="100"/>
                  <a:pt x="118" y="103"/>
                </a:cubicBezTo>
                <a:close/>
                <a:moveTo>
                  <a:pt x="153" y="33"/>
                </a:moveTo>
                <a:cubicBezTo>
                  <a:pt x="158" y="38"/>
                  <a:pt x="155" y="50"/>
                  <a:pt x="147" y="65"/>
                </a:cubicBezTo>
                <a:cubicBezTo>
                  <a:pt x="140" y="63"/>
                  <a:pt x="133" y="62"/>
                  <a:pt x="125" y="61"/>
                </a:cubicBezTo>
                <a:cubicBezTo>
                  <a:pt x="124" y="53"/>
                  <a:pt x="122" y="46"/>
                  <a:pt x="120" y="39"/>
                </a:cubicBezTo>
                <a:cubicBezTo>
                  <a:pt x="135" y="31"/>
                  <a:pt x="147" y="28"/>
                  <a:pt x="153" y="33"/>
                </a:cubicBezTo>
                <a:close/>
                <a:moveTo>
                  <a:pt x="133" y="86"/>
                </a:moveTo>
                <a:cubicBezTo>
                  <a:pt x="131" y="84"/>
                  <a:pt x="128" y="81"/>
                  <a:pt x="126" y="79"/>
                </a:cubicBezTo>
                <a:cubicBezTo>
                  <a:pt x="126" y="76"/>
                  <a:pt x="126" y="72"/>
                  <a:pt x="126" y="69"/>
                </a:cubicBezTo>
                <a:cubicBezTo>
                  <a:pt x="132" y="70"/>
                  <a:pt x="137" y="71"/>
                  <a:pt x="142" y="72"/>
                </a:cubicBezTo>
                <a:cubicBezTo>
                  <a:pt x="140" y="77"/>
                  <a:pt x="136" y="81"/>
                  <a:pt x="133" y="86"/>
                </a:cubicBezTo>
                <a:close/>
                <a:moveTo>
                  <a:pt x="133" y="99"/>
                </a:moveTo>
                <a:cubicBezTo>
                  <a:pt x="136" y="104"/>
                  <a:pt x="140" y="109"/>
                  <a:pt x="142" y="113"/>
                </a:cubicBezTo>
                <a:cubicBezTo>
                  <a:pt x="137" y="114"/>
                  <a:pt x="132" y="115"/>
                  <a:pt x="126" y="116"/>
                </a:cubicBezTo>
                <a:cubicBezTo>
                  <a:pt x="126" y="113"/>
                  <a:pt x="126" y="110"/>
                  <a:pt x="126" y="107"/>
                </a:cubicBezTo>
                <a:cubicBezTo>
                  <a:pt x="129" y="104"/>
                  <a:pt x="131" y="102"/>
                  <a:pt x="133" y="99"/>
                </a:cubicBezTo>
                <a:close/>
                <a:moveTo>
                  <a:pt x="153" y="152"/>
                </a:moveTo>
                <a:cubicBezTo>
                  <a:pt x="147" y="158"/>
                  <a:pt x="135" y="155"/>
                  <a:pt x="120" y="146"/>
                </a:cubicBezTo>
                <a:cubicBezTo>
                  <a:pt x="122" y="140"/>
                  <a:pt x="124" y="132"/>
                  <a:pt x="125" y="124"/>
                </a:cubicBezTo>
                <a:cubicBezTo>
                  <a:pt x="133" y="123"/>
                  <a:pt x="140" y="122"/>
                  <a:pt x="147" y="120"/>
                </a:cubicBezTo>
                <a:cubicBezTo>
                  <a:pt x="155" y="135"/>
                  <a:pt x="158" y="147"/>
                  <a:pt x="153" y="152"/>
                </a:cubicBezTo>
                <a:close/>
                <a:moveTo>
                  <a:pt x="150" y="111"/>
                </a:moveTo>
                <a:cubicBezTo>
                  <a:pt x="147" y="105"/>
                  <a:pt x="143" y="99"/>
                  <a:pt x="138" y="93"/>
                </a:cubicBezTo>
                <a:cubicBezTo>
                  <a:pt x="143" y="86"/>
                  <a:pt x="147" y="80"/>
                  <a:pt x="150" y="74"/>
                </a:cubicBezTo>
                <a:cubicBezTo>
                  <a:pt x="167" y="79"/>
                  <a:pt x="177" y="85"/>
                  <a:pt x="177" y="93"/>
                </a:cubicBezTo>
                <a:cubicBezTo>
                  <a:pt x="177" y="100"/>
                  <a:pt x="167" y="107"/>
                  <a:pt x="150" y="111"/>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dirty="0"/>
          </a:p>
        </p:txBody>
      </p:sp>
    </p:spTree>
    <p:extLst>
      <p:ext uri="{BB962C8B-B14F-4D97-AF65-F5344CB8AC3E}">
        <p14:creationId xmlns:p14="http://schemas.microsoft.com/office/powerpoint/2010/main" val="39118652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F8E01B9D-5B0D-ED48-93FD-8B9F129C122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179"/>
          <a:stretch/>
        </p:blipFill>
        <p:spPr>
          <a:xfrm>
            <a:off x="-23924" y="220711"/>
            <a:ext cx="12384090" cy="1452195"/>
          </a:xfrm>
          <a:prstGeom prst="rect">
            <a:avLst/>
          </a:prstGeom>
        </p:spPr>
      </p:pic>
      <p:sp>
        <p:nvSpPr>
          <p:cNvPr id="53" name="Rectangle 21">
            <a:extLst>
              <a:ext uri="{FF2B5EF4-FFF2-40B4-BE49-F238E27FC236}">
                <a16:creationId xmlns:a16="http://schemas.microsoft.com/office/drawing/2014/main" id="{66D3B711-11C4-0A42-9372-FA79243F9672}"/>
              </a:ext>
            </a:extLst>
          </p:cNvPr>
          <p:cNvSpPr/>
          <p:nvPr/>
        </p:nvSpPr>
        <p:spPr bwMode="auto">
          <a:xfrm>
            <a:off x="-23925" y="209637"/>
            <a:ext cx="12239849" cy="1452196"/>
          </a:xfrm>
          <a:prstGeom prst="rect">
            <a:avLst/>
          </a:prstGeom>
          <a:solidFill>
            <a:schemeClr val="tx2">
              <a:lumMod val="60000"/>
              <a:lumOff val="40000"/>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2" name="Titel 1">
            <a:extLst>
              <a:ext uri="{FF2B5EF4-FFF2-40B4-BE49-F238E27FC236}">
                <a16:creationId xmlns:a16="http://schemas.microsoft.com/office/drawing/2014/main" id="{8DBD732E-255D-5641-835F-7822FEFB1A84}"/>
              </a:ext>
            </a:extLst>
          </p:cNvPr>
          <p:cNvSpPr>
            <a:spLocks noGrp="1"/>
          </p:cNvSpPr>
          <p:nvPr>
            <p:ph type="title"/>
          </p:nvPr>
        </p:nvSpPr>
        <p:spPr>
          <a:xfrm>
            <a:off x="373172" y="771272"/>
            <a:ext cx="11445656" cy="797082"/>
          </a:xfrm>
        </p:spPr>
        <p:txBody>
          <a:bodyPr/>
          <a:lstStyle/>
          <a:p>
            <a:r>
              <a:rPr lang="de-DE" dirty="0">
                <a:solidFill>
                  <a:schemeClr val="bg1"/>
                </a:solidFill>
                <a:latin typeface="Tahoma" panose="020B0604030504040204" pitchFamily="34" charset="0"/>
                <a:ea typeface="Tahoma" panose="020B0604030504040204" pitchFamily="34" charset="0"/>
                <a:cs typeface="Tahoma" panose="020B0604030504040204" pitchFamily="34" charset="0"/>
              </a:rPr>
              <a:t>Feststellung des Sprachstandes</a:t>
            </a:r>
          </a:p>
        </p:txBody>
      </p:sp>
      <p:sp>
        <p:nvSpPr>
          <p:cNvPr id="3" name="Textplatzhalter 2">
            <a:extLst>
              <a:ext uri="{FF2B5EF4-FFF2-40B4-BE49-F238E27FC236}">
                <a16:creationId xmlns:a16="http://schemas.microsoft.com/office/drawing/2014/main" id="{372F9084-4CAF-5A4B-B2B8-887F658B4A98}"/>
              </a:ext>
            </a:extLst>
          </p:cNvPr>
          <p:cNvSpPr>
            <a:spLocks noGrp="1"/>
          </p:cNvSpPr>
          <p:nvPr>
            <p:ph type="body" sz="quarter" idx="10"/>
          </p:nvPr>
        </p:nvSpPr>
        <p:spPr>
          <a:xfrm>
            <a:off x="373172" y="369140"/>
            <a:ext cx="5334843" cy="314948"/>
          </a:xfrm>
        </p:spPr>
        <p:txBody>
          <a:bodyPr/>
          <a:lstStyle/>
          <a:p>
            <a:r>
              <a:rPr lang="de-DE" dirty="0">
                <a:solidFill>
                  <a:schemeClr val="bg1"/>
                </a:solidFill>
              </a:rPr>
              <a:t>SPRACHE</a:t>
            </a:r>
          </a:p>
        </p:txBody>
      </p:sp>
      <p:grpSp>
        <p:nvGrpSpPr>
          <p:cNvPr id="35" name="Gruppieren 34">
            <a:extLst>
              <a:ext uri="{FF2B5EF4-FFF2-40B4-BE49-F238E27FC236}">
                <a16:creationId xmlns:a16="http://schemas.microsoft.com/office/drawing/2014/main" id="{F71E316C-7883-2C45-A8E5-52265394BD48}"/>
              </a:ext>
            </a:extLst>
          </p:cNvPr>
          <p:cNvGrpSpPr/>
          <p:nvPr/>
        </p:nvGrpSpPr>
        <p:grpSpPr>
          <a:xfrm>
            <a:off x="5382112" y="2313938"/>
            <a:ext cx="383575" cy="3318668"/>
            <a:chOff x="4818963" y="2170323"/>
            <a:chExt cx="383817" cy="3320759"/>
          </a:xfrm>
        </p:grpSpPr>
        <p:cxnSp>
          <p:nvCxnSpPr>
            <p:cNvPr id="36" name="Straight Connector 12">
              <a:extLst>
                <a:ext uri="{FF2B5EF4-FFF2-40B4-BE49-F238E27FC236}">
                  <a16:creationId xmlns:a16="http://schemas.microsoft.com/office/drawing/2014/main" id="{C0CE0D2F-9C6A-324C-AA54-45D6E0C7A8BA}"/>
                </a:ext>
              </a:extLst>
            </p:cNvPr>
            <p:cNvCxnSpPr>
              <a:cxnSpLocks/>
            </p:cNvCxnSpPr>
            <p:nvPr/>
          </p:nvCxnSpPr>
          <p:spPr bwMode="auto">
            <a:xfrm>
              <a:off x="4818963" y="3741668"/>
              <a:ext cx="360000" cy="0"/>
            </a:xfrm>
            <a:prstGeom prst="line">
              <a:avLst/>
            </a:prstGeom>
            <a:solidFill>
              <a:srgbClr val="FFFFFF"/>
            </a:solidFill>
            <a:ln w="19050" cap="flat" cmpd="sng" algn="ctr">
              <a:solidFill>
                <a:schemeClr val="tx2"/>
              </a:solidFill>
              <a:prstDash val="solid"/>
              <a:round/>
              <a:headEnd type="none" w="med" len="med"/>
              <a:tailEnd type="none" w="med" len="med"/>
            </a:ln>
            <a:effectLst/>
          </p:spPr>
        </p:cxnSp>
        <p:cxnSp>
          <p:nvCxnSpPr>
            <p:cNvPr id="37" name="Straight Connector 49">
              <a:extLst>
                <a:ext uri="{FF2B5EF4-FFF2-40B4-BE49-F238E27FC236}">
                  <a16:creationId xmlns:a16="http://schemas.microsoft.com/office/drawing/2014/main" id="{545E32B8-D236-9949-A410-0E19F69635AB}"/>
                </a:ext>
              </a:extLst>
            </p:cNvPr>
            <p:cNvCxnSpPr>
              <a:cxnSpLocks/>
            </p:cNvCxnSpPr>
            <p:nvPr/>
          </p:nvCxnSpPr>
          <p:spPr bwMode="auto">
            <a:xfrm>
              <a:off x="5202780" y="2170323"/>
              <a:ext cx="0" cy="3320759"/>
            </a:xfrm>
            <a:prstGeom prst="line">
              <a:avLst/>
            </a:prstGeom>
            <a:solidFill>
              <a:srgbClr val="FFFFFF"/>
            </a:solidFill>
            <a:ln w="19050" cap="flat" cmpd="sng" algn="ctr">
              <a:solidFill>
                <a:schemeClr val="tx2"/>
              </a:solidFill>
              <a:prstDash val="solid"/>
              <a:round/>
              <a:headEnd type="none" w="med" len="med"/>
              <a:tailEnd type="none" w="med" len="med"/>
            </a:ln>
            <a:effectLst/>
          </p:spPr>
        </p:cxnSp>
      </p:grpSp>
      <p:sp>
        <p:nvSpPr>
          <p:cNvPr id="51" name="Textfeld 50">
            <a:extLst>
              <a:ext uri="{FF2B5EF4-FFF2-40B4-BE49-F238E27FC236}">
                <a16:creationId xmlns:a16="http://schemas.microsoft.com/office/drawing/2014/main" id="{EEC16045-19E3-5A47-A3D6-D9B1960B22F9}"/>
              </a:ext>
            </a:extLst>
          </p:cNvPr>
          <p:cNvSpPr txBox="1"/>
          <p:nvPr/>
        </p:nvSpPr>
        <p:spPr>
          <a:xfrm>
            <a:off x="6136038" y="2464024"/>
            <a:ext cx="5118537" cy="2862322"/>
          </a:xfrm>
          <a:prstGeom prst="rect">
            <a:avLst/>
          </a:prstGeom>
          <a:noFill/>
        </p:spPr>
        <p:txBody>
          <a:bodyPr wrap="square" rtlCol="0">
            <a:spAutoFit/>
          </a:bodyPr>
          <a:lstStyle/>
          <a:p>
            <a:pPr marL="285750" indent="-285750">
              <a:buFont typeface="Arial" panose="020B0604020202020204" pitchFamily="34" charset="0"/>
              <a:buChar char="•"/>
            </a:pPr>
            <a:r>
              <a:rPr lang="de-DE" altLang="de-DE" dirty="0">
                <a:solidFill>
                  <a:schemeClr val="tx1">
                    <a:lumMod val="65000"/>
                    <a:lumOff val="35000"/>
                  </a:schemeClr>
                </a:solidFill>
                <a:latin typeface="Tahoma"/>
              </a:rPr>
              <a:t>Beratungsangebot richtet sich an alle Erziehungsberechtigten, deren Kinder in zwei Jahren schulpflichtig werden</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In NRW gemäß § 36 Schulgesetz Feststellung des Sprachstandes aller Kinder 2 Jahre vor der Einschulung</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Durch Änderung des Kinderbildungsgesetzes liegt Feststellung der sprachlichen Entwicklung und Förderung in der Hand der Kindertageseinrichtung</a:t>
            </a:r>
          </a:p>
        </p:txBody>
      </p:sp>
      <p:sp>
        <p:nvSpPr>
          <p:cNvPr id="69" name="Freeform 44">
            <a:extLst>
              <a:ext uri="{FF2B5EF4-FFF2-40B4-BE49-F238E27FC236}">
                <a16:creationId xmlns:a16="http://schemas.microsoft.com/office/drawing/2014/main" id="{73F74614-4581-E44A-AC62-5179113E97B9}"/>
              </a:ext>
            </a:extLst>
          </p:cNvPr>
          <p:cNvSpPr>
            <a:spLocks/>
          </p:cNvSpPr>
          <p:nvPr/>
        </p:nvSpPr>
        <p:spPr bwMode="auto">
          <a:xfrm>
            <a:off x="508214" y="1976242"/>
            <a:ext cx="1019245" cy="1059200"/>
          </a:xfrm>
          <a:custGeom>
            <a:avLst/>
            <a:gdLst>
              <a:gd name="T0" fmla="*/ 162 w 222"/>
              <a:gd name="T1" fmla="*/ 0 h 232"/>
              <a:gd name="T2" fmla="*/ 0 w 222"/>
              <a:gd name="T3" fmla="*/ 83 h 232"/>
              <a:gd name="T4" fmla="*/ 60 w 222"/>
              <a:gd name="T5" fmla="*/ 199 h 232"/>
              <a:gd name="T6" fmla="*/ 82 w 222"/>
              <a:gd name="T7" fmla="*/ 188 h 232"/>
              <a:gd name="T8" fmla="*/ 101 w 222"/>
              <a:gd name="T9" fmla="*/ 232 h 232"/>
              <a:gd name="T10" fmla="*/ 115 w 222"/>
              <a:gd name="T11" fmla="*/ 171 h 232"/>
              <a:gd name="T12" fmla="*/ 222 w 222"/>
              <a:gd name="T13" fmla="*/ 116 h 232"/>
              <a:gd name="T14" fmla="*/ 162 w 222"/>
              <a:gd name="T15" fmla="*/ 0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2" h="232">
                <a:moveTo>
                  <a:pt x="162" y="0"/>
                </a:moveTo>
                <a:cubicBezTo>
                  <a:pt x="0" y="83"/>
                  <a:pt x="0" y="83"/>
                  <a:pt x="0" y="83"/>
                </a:cubicBezTo>
                <a:cubicBezTo>
                  <a:pt x="60" y="199"/>
                  <a:pt x="60" y="199"/>
                  <a:pt x="60" y="199"/>
                </a:cubicBezTo>
                <a:cubicBezTo>
                  <a:pt x="82" y="188"/>
                  <a:pt x="82" y="188"/>
                  <a:pt x="82" y="188"/>
                </a:cubicBezTo>
                <a:cubicBezTo>
                  <a:pt x="99" y="201"/>
                  <a:pt x="101" y="232"/>
                  <a:pt x="101" y="232"/>
                </a:cubicBezTo>
                <a:cubicBezTo>
                  <a:pt x="125" y="208"/>
                  <a:pt x="120" y="183"/>
                  <a:pt x="115" y="171"/>
                </a:cubicBezTo>
                <a:cubicBezTo>
                  <a:pt x="222" y="116"/>
                  <a:pt x="222" y="116"/>
                  <a:pt x="222" y="116"/>
                </a:cubicBezTo>
                <a:lnTo>
                  <a:pt x="162"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Freeform 47">
            <a:extLst>
              <a:ext uri="{FF2B5EF4-FFF2-40B4-BE49-F238E27FC236}">
                <a16:creationId xmlns:a16="http://schemas.microsoft.com/office/drawing/2014/main" id="{BE3FD9E5-9F82-8A41-BF43-370522C5A972}"/>
              </a:ext>
            </a:extLst>
          </p:cNvPr>
          <p:cNvSpPr>
            <a:spLocks/>
          </p:cNvSpPr>
          <p:nvPr/>
        </p:nvSpPr>
        <p:spPr bwMode="auto">
          <a:xfrm>
            <a:off x="4337688" y="2861188"/>
            <a:ext cx="230318" cy="251133"/>
          </a:xfrm>
          <a:custGeom>
            <a:avLst/>
            <a:gdLst>
              <a:gd name="T0" fmla="*/ 1 w 50"/>
              <a:gd name="T1" fmla="*/ 18 h 55"/>
              <a:gd name="T2" fmla="*/ 25 w 50"/>
              <a:gd name="T3" fmla="*/ 3 h 55"/>
              <a:gd name="T4" fmla="*/ 41 w 50"/>
              <a:gd name="T5" fmla="*/ 27 h 55"/>
              <a:gd name="T6" fmla="*/ 41 w 50"/>
              <a:gd name="T7" fmla="*/ 27 h 55"/>
              <a:gd name="T8" fmla="*/ 49 w 50"/>
              <a:gd name="T9" fmla="*/ 43 h 55"/>
              <a:gd name="T10" fmla="*/ 32 w 50"/>
              <a:gd name="T11" fmla="*/ 54 h 55"/>
              <a:gd name="T12" fmla="*/ 24 w 50"/>
              <a:gd name="T13" fmla="*/ 49 h 55"/>
              <a:gd name="T14" fmla="*/ 17 w 50"/>
              <a:gd name="T15" fmla="*/ 50 h 55"/>
              <a:gd name="T16" fmla="*/ 7 w 50"/>
              <a:gd name="T17" fmla="*/ 37 h 55"/>
              <a:gd name="T18" fmla="*/ 1 w 50"/>
              <a:gd name="T19" fmla="*/ 1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5">
                <a:moveTo>
                  <a:pt x="1" y="18"/>
                </a:moveTo>
                <a:cubicBezTo>
                  <a:pt x="4" y="7"/>
                  <a:pt x="14" y="0"/>
                  <a:pt x="25" y="3"/>
                </a:cubicBezTo>
                <a:cubicBezTo>
                  <a:pt x="36" y="5"/>
                  <a:pt x="43" y="16"/>
                  <a:pt x="41" y="27"/>
                </a:cubicBezTo>
                <a:cubicBezTo>
                  <a:pt x="41" y="27"/>
                  <a:pt x="41" y="27"/>
                  <a:pt x="41" y="27"/>
                </a:cubicBezTo>
                <a:cubicBezTo>
                  <a:pt x="47" y="30"/>
                  <a:pt x="50" y="36"/>
                  <a:pt x="49" y="43"/>
                </a:cubicBezTo>
                <a:cubicBezTo>
                  <a:pt x="47" y="51"/>
                  <a:pt x="39" y="55"/>
                  <a:pt x="32" y="54"/>
                </a:cubicBezTo>
                <a:cubicBezTo>
                  <a:pt x="29" y="53"/>
                  <a:pt x="26" y="51"/>
                  <a:pt x="24" y="49"/>
                </a:cubicBezTo>
                <a:cubicBezTo>
                  <a:pt x="22" y="50"/>
                  <a:pt x="19" y="50"/>
                  <a:pt x="17" y="50"/>
                </a:cubicBezTo>
                <a:cubicBezTo>
                  <a:pt x="10" y="48"/>
                  <a:pt x="6" y="43"/>
                  <a:pt x="7" y="37"/>
                </a:cubicBezTo>
                <a:cubicBezTo>
                  <a:pt x="2" y="32"/>
                  <a:pt x="0" y="25"/>
                  <a:pt x="1" y="18"/>
                </a:cubicBezTo>
                <a:close/>
              </a:path>
            </a:pathLst>
          </a:custGeom>
          <a:solidFill>
            <a:srgbClr val="F191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48">
            <a:extLst>
              <a:ext uri="{FF2B5EF4-FFF2-40B4-BE49-F238E27FC236}">
                <a16:creationId xmlns:a16="http://schemas.microsoft.com/office/drawing/2014/main" id="{63FDC5D9-CD38-E541-B2BF-3840834F16FA}"/>
              </a:ext>
            </a:extLst>
          </p:cNvPr>
          <p:cNvSpPr>
            <a:spLocks/>
          </p:cNvSpPr>
          <p:nvPr/>
        </p:nvSpPr>
        <p:spPr bwMode="auto">
          <a:xfrm>
            <a:off x="4246592" y="3076445"/>
            <a:ext cx="110002" cy="155464"/>
          </a:xfrm>
          <a:custGeom>
            <a:avLst/>
            <a:gdLst>
              <a:gd name="T0" fmla="*/ 1 w 24"/>
              <a:gd name="T1" fmla="*/ 7 h 34"/>
              <a:gd name="T2" fmla="*/ 9 w 24"/>
              <a:gd name="T3" fmla="*/ 1 h 34"/>
              <a:gd name="T4" fmla="*/ 15 w 24"/>
              <a:gd name="T5" fmla="*/ 10 h 34"/>
              <a:gd name="T6" fmla="*/ 14 w 24"/>
              <a:gd name="T7" fmla="*/ 12 h 34"/>
              <a:gd name="T8" fmla="*/ 15 w 24"/>
              <a:gd name="T9" fmla="*/ 12 h 34"/>
              <a:gd name="T10" fmla="*/ 23 w 24"/>
              <a:gd name="T11" fmla="*/ 24 h 34"/>
              <a:gd name="T12" fmla="*/ 10 w 24"/>
              <a:gd name="T13" fmla="*/ 33 h 34"/>
              <a:gd name="T14" fmla="*/ 2 w 24"/>
              <a:gd name="T15" fmla="*/ 20 h 34"/>
              <a:gd name="T16" fmla="*/ 4 w 24"/>
              <a:gd name="T17" fmla="*/ 15 h 34"/>
              <a:gd name="T18" fmla="*/ 1 w 24"/>
              <a:gd name="T19"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34">
                <a:moveTo>
                  <a:pt x="1" y="7"/>
                </a:moveTo>
                <a:cubicBezTo>
                  <a:pt x="1" y="3"/>
                  <a:pt x="5" y="0"/>
                  <a:pt x="9" y="1"/>
                </a:cubicBezTo>
                <a:cubicBezTo>
                  <a:pt x="13" y="2"/>
                  <a:pt x="16" y="6"/>
                  <a:pt x="15" y="10"/>
                </a:cubicBezTo>
                <a:cubicBezTo>
                  <a:pt x="15" y="10"/>
                  <a:pt x="15" y="11"/>
                  <a:pt x="14" y="12"/>
                </a:cubicBezTo>
                <a:cubicBezTo>
                  <a:pt x="15" y="12"/>
                  <a:pt x="15" y="12"/>
                  <a:pt x="15" y="12"/>
                </a:cubicBezTo>
                <a:cubicBezTo>
                  <a:pt x="21" y="13"/>
                  <a:pt x="24" y="19"/>
                  <a:pt x="23" y="24"/>
                </a:cubicBezTo>
                <a:cubicBezTo>
                  <a:pt x="22" y="30"/>
                  <a:pt x="16" y="34"/>
                  <a:pt x="10" y="33"/>
                </a:cubicBezTo>
                <a:cubicBezTo>
                  <a:pt x="4" y="32"/>
                  <a:pt x="0" y="26"/>
                  <a:pt x="2" y="20"/>
                </a:cubicBezTo>
                <a:cubicBezTo>
                  <a:pt x="2" y="18"/>
                  <a:pt x="3" y="16"/>
                  <a:pt x="4" y="15"/>
                </a:cubicBezTo>
                <a:cubicBezTo>
                  <a:pt x="1" y="13"/>
                  <a:pt x="0" y="10"/>
                  <a:pt x="1" y="7"/>
                </a:cubicBezTo>
                <a:close/>
              </a:path>
            </a:pathLst>
          </a:custGeom>
          <a:solidFill>
            <a:srgbClr val="F1913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50">
            <a:extLst>
              <a:ext uri="{FF2B5EF4-FFF2-40B4-BE49-F238E27FC236}">
                <a16:creationId xmlns:a16="http://schemas.microsoft.com/office/drawing/2014/main" id="{104534BE-B925-2B4E-AB95-BB298C55D97C}"/>
              </a:ext>
            </a:extLst>
          </p:cNvPr>
          <p:cNvSpPr>
            <a:spLocks/>
          </p:cNvSpPr>
          <p:nvPr/>
        </p:nvSpPr>
        <p:spPr bwMode="auto">
          <a:xfrm>
            <a:off x="3002185" y="1834446"/>
            <a:ext cx="1335503" cy="1332543"/>
          </a:xfrm>
          <a:custGeom>
            <a:avLst/>
            <a:gdLst>
              <a:gd name="T0" fmla="*/ 265 w 291"/>
              <a:gd name="T1" fmla="*/ 188 h 292"/>
              <a:gd name="T2" fmla="*/ 191 w 291"/>
              <a:gd name="T3" fmla="*/ 34 h 292"/>
              <a:gd name="T4" fmla="*/ 23 w 291"/>
              <a:gd name="T5" fmla="*/ 64 h 292"/>
              <a:gd name="T6" fmla="*/ 73 w 291"/>
              <a:gd name="T7" fmla="*/ 203 h 292"/>
              <a:gd name="T8" fmla="*/ 100 w 291"/>
              <a:gd name="T9" fmla="*/ 292 h 292"/>
              <a:gd name="T10" fmla="*/ 122 w 291"/>
              <a:gd name="T11" fmla="*/ 229 h 292"/>
              <a:gd name="T12" fmla="*/ 265 w 291"/>
              <a:gd name="T13" fmla="*/ 188 h 292"/>
            </a:gdLst>
            <a:ahLst/>
            <a:cxnLst>
              <a:cxn ang="0">
                <a:pos x="T0" y="T1"/>
              </a:cxn>
              <a:cxn ang="0">
                <a:pos x="T2" y="T3"/>
              </a:cxn>
              <a:cxn ang="0">
                <a:pos x="T4" y="T5"/>
              </a:cxn>
              <a:cxn ang="0">
                <a:pos x="T6" y="T7"/>
              </a:cxn>
              <a:cxn ang="0">
                <a:pos x="T8" y="T9"/>
              </a:cxn>
              <a:cxn ang="0">
                <a:pos x="T10" y="T11"/>
              </a:cxn>
              <a:cxn ang="0">
                <a:pos x="T12" y="T13"/>
              </a:cxn>
            </a:cxnLst>
            <a:rect l="0" t="0" r="r" b="b"/>
            <a:pathLst>
              <a:path w="291" h="292">
                <a:moveTo>
                  <a:pt x="265" y="188"/>
                </a:moveTo>
                <a:cubicBezTo>
                  <a:pt x="291" y="138"/>
                  <a:pt x="258" y="69"/>
                  <a:pt x="191" y="34"/>
                </a:cubicBezTo>
                <a:cubicBezTo>
                  <a:pt x="124" y="0"/>
                  <a:pt x="49" y="13"/>
                  <a:pt x="23" y="64"/>
                </a:cubicBezTo>
                <a:cubicBezTo>
                  <a:pt x="0" y="108"/>
                  <a:pt x="22" y="166"/>
                  <a:pt x="73" y="203"/>
                </a:cubicBezTo>
                <a:cubicBezTo>
                  <a:pt x="67" y="225"/>
                  <a:pt x="66" y="259"/>
                  <a:pt x="100" y="292"/>
                </a:cubicBezTo>
                <a:cubicBezTo>
                  <a:pt x="100" y="292"/>
                  <a:pt x="102" y="252"/>
                  <a:pt x="122" y="229"/>
                </a:cubicBezTo>
                <a:cubicBezTo>
                  <a:pt x="182" y="249"/>
                  <a:pt x="242" y="233"/>
                  <a:pt x="265" y="188"/>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4" name="Freeform 51">
            <a:extLst>
              <a:ext uri="{FF2B5EF4-FFF2-40B4-BE49-F238E27FC236}">
                <a16:creationId xmlns:a16="http://schemas.microsoft.com/office/drawing/2014/main" id="{EFC9BE53-194C-744B-AAF0-9630C0721056}"/>
              </a:ext>
            </a:extLst>
          </p:cNvPr>
          <p:cNvSpPr>
            <a:spLocks noEditPoints="1"/>
          </p:cNvSpPr>
          <p:nvPr/>
        </p:nvSpPr>
        <p:spPr bwMode="auto">
          <a:xfrm>
            <a:off x="3603762" y="2153916"/>
            <a:ext cx="321415" cy="351929"/>
          </a:xfrm>
          <a:custGeom>
            <a:avLst/>
            <a:gdLst>
              <a:gd name="T0" fmla="*/ 16 w 70"/>
              <a:gd name="T1" fmla="*/ 53 h 77"/>
              <a:gd name="T2" fmla="*/ 17 w 70"/>
              <a:gd name="T3" fmla="*/ 54 h 77"/>
              <a:gd name="T4" fmla="*/ 62 w 70"/>
              <a:gd name="T5" fmla="*/ 77 h 77"/>
              <a:gd name="T6" fmla="*/ 64 w 70"/>
              <a:gd name="T7" fmla="*/ 77 h 77"/>
              <a:gd name="T8" fmla="*/ 65 w 70"/>
              <a:gd name="T9" fmla="*/ 76 h 77"/>
              <a:gd name="T10" fmla="*/ 65 w 70"/>
              <a:gd name="T11" fmla="*/ 36 h 77"/>
              <a:gd name="T12" fmla="*/ 38 w 70"/>
              <a:gd name="T13" fmla="*/ 7 h 77"/>
              <a:gd name="T14" fmla="*/ 2 w 70"/>
              <a:gd name="T15" fmla="*/ 2 h 77"/>
              <a:gd name="T16" fmla="*/ 1 w 70"/>
              <a:gd name="T17" fmla="*/ 3 h 77"/>
              <a:gd name="T18" fmla="*/ 1 w 70"/>
              <a:gd name="T19" fmla="*/ 4 h 77"/>
              <a:gd name="T20" fmla="*/ 16 w 70"/>
              <a:gd name="T21" fmla="*/ 53 h 77"/>
              <a:gd name="T22" fmla="*/ 19 w 70"/>
              <a:gd name="T23" fmla="*/ 32 h 77"/>
              <a:gd name="T24" fmla="*/ 42 w 70"/>
              <a:gd name="T25" fmla="*/ 20 h 77"/>
              <a:gd name="T26" fmla="*/ 46 w 70"/>
              <a:gd name="T27" fmla="*/ 23 h 77"/>
              <a:gd name="T28" fmla="*/ 20 w 70"/>
              <a:gd name="T29" fmla="*/ 37 h 77"/>
              <a:gd name="T30" fmla="*/ 19 w 70"/>
              <a:gd name="T31" fmla="*/ 32 h 77"/>
              <a:gd name="T32" fmla="*/ 34 w 70"/>
              <a:gd name="T33" fmla="*/ 15 h 77"/>
              <a:gd name="T34" fmla="*/ 35 w 70"/>
              <a:gd name="T35" fmla="*/ 16 h 77"/>
              <a:gd name="T36" fmla="*/ 17 w 70"/>
              <a:gd name="T37" fmla="*/ 26 h 77"/>
              <a:gd name="T38" fmla="*/ 15 w 70"/>
              <a:gd name="T39" fmla="*/ 21 h 77"/>
              <a:gd name="T40" fmla="*/ 30 w 70"/>
              <a:gd name="T41" fmla="*/ 13 h 77"/>
              <a:gd name="T42" fmla="*/ 34 w 70"/>
              <a:gd name="T43" fmla="*/ 15 h 77"/>
              <a:gd name="T44" fmla="*/ 20 w 70"/>
              <a:gd name="T45" fmla="*/ 10 h 77"/>
              <a:gd name="T46" fmla="*/ 13 w 70"/>
              <a:gd name="T47" fmla="*/ 14 h 77"/>
              <a:gd name="T48" fmla="*/ 12 w 70"/>
              <a:gd name="T49" fmla="*/ 10 h 77"/>
              <a:gd name="T50" fmla="*/ 19 w 70"/>
              <a:gd name="T51" fmla="*/ 10 h 77"/>
              <a:gd name="T52" fmla="*/ 20 w 70"/>
              <a:gd name="T53" fmla="*/ 10 h 77"/>
              <a:gd name="T54" fmla="*/ 44 w 70"/>
              <a:gd name="T55" fmla="*/ 58 h 77"/>
              <a:gd name="T56" fmla="*/ 59 w 70"/>
              <a:gd name="T57" fmla="*/ 50 h 77"/>
              <a:gd name="T58" fmla="*/ 59 w 70"/>
              <a:gd name="T59" fmla="*/ 53 h 77"/>
              <a:gd name="T60" fmla="*/ 47 w 70"/>
              <a:gd name="T61" fmla="*/ 59 h 77"/>
              <a:gd name="T62" fmla="*/ 44 w 70"/>
              <a:gd name="T63" fmla="*/ 58 h 77"/>
              <a:gd name="T64" fmla="*/ 55 w 70"/>
              <a:gd name="T65" fmla="*/ 63 h 77"/>
              <a:gd name="T66" fmla="*/ 59 w 70"/>
              <a:gd name="T67" fmla="*/ 61 h 77"/>
              <a:gd name="T68" fmla="*/ 59 w 70"/>
              <a:gd name="T69" fmla="*/ 65 h 77"/>
              <a:gd name="T70" fmla="*/ 55 w 70"/>
              <a:gd name="T71" fmla="*/ 63 h 77"/>
              <a:gd name="T72" fmla="*/ 32 w 70"/>
              <a:gd name="T73" fmla="*/ 52 h 77"/>
              <a:gd name="T74" fmla="*/ 56 w 70"/>
              <a:gd name="T75" fmla="*/ 38 h 77"/>
              <a:gd name="T76" fmla="*/ 57 w 70"/>
              <a:gd name="T77" fmla="*/ 40 h 77"/>
              <a:gd name="T78" fmla="*/ 58 w 70"/>
              <a:gd name="T79" fmla="*/ 43 h 77"/>
              <a:gd name="T80" fmla="*/ 37 w 70"/>
              <a:gd name="T81" fmla="*/ 54 h 77"/>
              <a:gd name="T82" fmla="*/ 32 w 70"/>
              <a:gd name="T83" fmla="*/ 52 h 77"/>
              <a:gd name="T84" fmla="*/ 25 w 70"/>
              <a:gd name="T85" fmla="*/ 48 h 77"/>
              <a:gd name="T86" fmla="*/ 24 w 70"/>
              <a:gd name="T87" fmla="*/ 47 h 77"/>
              <a:gd name="T88" fmla="*/ 23 w 70"/>
              <a:gd name="T89" fmla="*/ 44 h 77"/>
              <a:gd name="T90" fmla="*/ 50 w 70"/>
              <a:gd name="T91" fmla="*/ 28 h 77"/>
              <a:gd name="T92" fmla="*/ 53 w 70"/>
              <a:gd name="T93" fmla="*/ 32 h 77"/>
              <a:gd name="T94" fmla="*/ 25 w 70"/>
              <a:gd name="T95" fmla="*/ 4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 h="77">
                <a:moveTo>
                  <a:pt x="16" y="53"/>
                </a:moveTo>
                <a:cubicBezTo>
                  <a:pt x="16" y="53"/>
                  <a:pt x="17" y="53"/>
                  <a:pt x="17" y="54"/>
                </a:cubicBezTo>
                <a:cubicBezTo>
                  <a:pt x="62" y="77"/>
                  <a:pt x="62" y="77"/>
                  <a:pt x="62" y="77"/>
                </a:cubicBezTo>
                <a:cubicBezTo>
                  <a:pt x="63" y="77"/>
                  <a:pt x="63" y="77"/>
                  <a:pt x="64" y="77"/>
                </a:cubicBezTo>
                <a:cubicBezTo>
                  <a:pt x="64" y="77"/>
                  <a:pt x="65" y="76"/>
                  <a:pt x="65" y="76"/>
                </a:cubicBezTo>
                <a:cubicBezTo>
                  <a:pt x="70" y="63"/>
                  <a:pt x="70" y="49"/>
                  <a:pt x="65" y="36"/>
                </a:cubicBezTo>
                <a:cubicBezTo>
                  <a:pt x="60" y="24"/>
                  <a:pt x="51" y="13"/>
                  <a:pt x="38" y="7"/>
                </a:cubicBezTo>
                <a:cubicBezTo>
                  <a:pt x="27" y="1"/>
                  <a:pt x="14" y="0"/>
                  <a:pt x="2" y="2"/>
                </a:cubicBezTo>
                <a:cubicBezTo>
                  <a:pt x="1" y="2"/>
                  <a:pt x="1" y="3"/>
                  <a:pt x="1" y="3"/>
                </a:cubicBezTo>
                <a:cubicBezTo>
                  <a:pt x="1" y="3"/>
                  <a:pt x="0" y="4"/>
                  <a:pt x="1" y="4"/>
                </a:cubicBezTo>
                <a:lnTo>
                  <a:pt x="16" y="53"/>
                </a:lnTo>
                <a:close/>
                <a:moveTo>
                  <a:pt x="19" y="32"/>
                </a:moveTo>
                <a:cubicBezTo>
                  <a:pt x="42" y="20"/>
                  <a:pt x="42" y="20"/>
                  <a:pt x="42" y="20"/>
                </a:cubicBezTo>
                <a:cubicBezTo>
                  <a:pt x="43" y="21"/>
                  <a:pt x="44" y="22"/>
                  <a:pt x="46" y="23"/>
                </a:cubicBezTo>
                <a:cubicBezTo>
                  <a:pt x="20" y="37"/>
                  <a:pt x="20" y="37"/>
                  <a:pt x="20" y="37"/>
                </a:cubicBezTo>
                <a:lnTo>
                  <a:pt x="19" y="32"/>
                </a:lnTo>
                <a:close/>
                <a:moveTo>
                  <a:pt x="34" y="15"/>
                </a:moveTo>
                <a:cubicBezTo>
                  <a:pt x="35" y="15"/>
                  <a:pt x="35" y="15"/>
                  <a:pt x="35" y="16"/>
                </a:cubicBezTo>
                <a:cubicBezTo>
                  <a:pt x="17" y="26"/>
                  <a:pt x="17" y="26"/>
                  <a:pt x="17" y="26"/>
                </a:cubicBezTo>
                <a:cubicBezTo>
                  <a:pt x="15" y="21"/>
                  <a:pt x="15" y="21"/>
                  <a:pt x="15" y="21"/>
                </a:cubicBezTo>
                <a:cubicBezTo>
                  <a:pt x="30" y="13"/>
                  <a:pt x="30" y="13"/>
                  <a:pt x="30" y="13"/>
                </a:cubicBezTo>
                <a:cubicBezTo>
                  <a:pt x="31" y="13"/>
                  <a:pt x="33" y="14"/>
                  <a:pt x="34" y="15"/>
                </a:cubicBezTo>
                <a:close/>
                <a:moveTo>
                  <a:pt x="20" y="10"/>
                </a:moveTo>
                <a:cubicBezTo>
                  <a:pt x="13" y="14"/>
                  <a:pt x="13" y="14"/>
                  <a:pt x="13" y="14"/>
                </a:cubicBezTo>
                <a:cubicBezTo>
                  <a:pt x="12" y="10"/>
                  <a:pt x="12" y="10"/>
                  <a:pt x="12" y="10"/>
                </a:cubicBezTo>
                <a:cubicBezTo>
                  <a:pt x="14" y="10"/>
                  <a:pt x="16" y="10"/>
                  <a:pt x="19" y="10"/>
                </a:cubicBezTo>
                <a:cubicBezTo>
                  <a:pt x="19" y="10"/>
                  <a:pt x="20" y="10"/>
                  <a:pt x="20" y="10"/>
                </a:cubicBezTo>
                <a:close/>
                <a:moveTo>
                  <a:pt x="44" y="58"/>
                </a:moveTo>
                <a:cubicBezTo>
                  <a:pt x="59" y="50"/>
                  <a:pt x="59" y="50"/>
                  <a:pt x="59" y="50"/>
                </a:cubicBezTo>
                <a:cubicBezTo>
                  <a:pt x="59" y="51"/>
                  <a:pt x="59" y="52"/>
                  <a:pt x="59" y="53"/>
                </a:cubicBezTo>
                <a:cubicBezTo>
                  <a:pt x="47" y="59"/>
                  <a:pt x="47" y="59"/>
                  <a:pt x="47" y="59"/>
                </a:cubicBezTo>
                <a:lnTo>
                  <a:pt x="44" y="58"/>
                </a:lnTo>
                <a:close/>
                <a:moveTo>
                  <a:pt x="55" y="63"/>
                </a:moveTo>
                <a:cubicBezTo>
                  <a:pt x="59" y="61"/>
                  <a:pt x="59" y="61"/>
                  <a:pt x="59" y="61"/>
                </a:cubicBezTo>
                <a:cubicBezTo>
                  <a:pt x="59" y="62"/>
                  <a:pt x="59" y="64"/>
                  <a:pt x="59" y="65"/>
                </a:cubicBezTo>
                <a:lnTo>
                  <a:pt x="55" y="63"/>
                </a:lnTo>
                <a:close/>
                <a:moveTo>
                  <a:pt x="32" y="52"/>
                </a:moveTo>
                <a:cubicBezTo>
                  <a:pt x="56" y="38"/>
                  <a:pt x="56" y="38"/>
                  <a:pt x="56" y="38"/>
                </a:cubicBezTo>
                <a:cubicBezTo>
                  <a:pt x="56" y="39"/>
                  <a:pt x="56" y="39"/>
                  <a:pt x="57" y="40"/>
                </a:cubicBezTo>
                <a:cubicBezTo>
                  <a:pt x="57" y="41"/>
                  <a:pt x="57" y="42"/>
                  <a:pt x="58" y="43"/>
                </a:cubicBezTo>
                <a:cubicBezTo>
                  <a:pt x="37" y="54"/>
                  <a:pt x="37" y="54"/>
                  <a:pt x="37" y="54"/>
                </a:cubicBezTo>
                <a:lnTo>
                  <a:pt x="32" y="52"/>
                </a:lnTo>
                <a:close/>
                <a:moveTo>
                  <a:pt x="25" y="48"/>
                </a:moveTo>
                <a:cubicBezTo>
                  <a:pt x="24" y="47"/>
                  <a:pt x="24" y="47"/>
                  <a:pt x="24" y="47"/>
                </a:cubicBezTo>
                <a:cubicBezTo>
                  <a:pt x="23" y="44"/>
                  <a:pt x="23" y="44"/>
                  <a:pt x="23" y="44"/>
                </a:cubicBezTo>
                <a:cubicBezTo>
                  <a:pt x="50" y="28"/>
                  <a:pt x="50" y="28"/>
                  <a:pt x="50" y="28"/>
                </a:cubicBezTo>
                <a:cubicBezTo>
                  <a:pt x="51" y="30"/>
                  <a:pt x="52" y="31"/>
                  <a:pt x="53" y="32"/>
                </a:cubicBezTo>
                <a:lnTo>
                  <a:pt x="25" y="48"/>
                </a:lnTo>
                <a:close/>
              </a:path>
            </a:pathLst>
          </a:custGeom>
          <a:solidFill>
            <a:schemeClr val="accent5">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5" name="Freeform 52">
            <a:extLst>
              <a:ext uri="{FF2B5EF4-FFF2-40B4-BE49-F238E27FC236}">
                <a16:creationId xmlns:a16="http://schemas.microsoft.com/office/drawing/2014/main" id="{3F66CB0C-15FE-3443-82A5-032853522FE8}"/>
              </a:ext>
            </a:extLst>
          </p:cNvPr>
          <p:cNvSpPr>
            <a:spLocks noEditPoints="1"/>
          </p:cNvSpPr>
          <p:nvPr/>
        </p:nvSpPr>
        <p:spPr bwMode="auto">
          <a:xfrm>
            <a:off x="3400946" y="2181250"/>
            <a:ext cx="238913" cy="341677"/>
          </a:xfrm>
          <a:custGeom>
            <a:avLst/>
            <a:gdLst>
              <a:gd name="T0" fmla="*/ 52 w 52"/>
              <a:gd name="T1" fmla="*/ 47 h 75"/>
              <a:gd name="T2" fmla="*/ 37 w 52"/>
              <a:gd name="T3" fmla="*/ 1 h 75"/>
              <a:gd name="T4" fmla="*/ 36 w 52"/>
              <a:gd name="T5" fmla="*/ 0 h 75"/>
              <a:gd name="T6" fmla="*/ 35 w 52"/>
              <a:gd name="T7" fmla="*/ 0 h 75"/>
              <a:gd name="T8" fmla="*/ 8 w 52"/>
              <a:gd name="T9" fmla="*/ 25 h 75"/>
              <a:gd name="T10" fmla="*/ 7 w 52"/>
              <a:gd name="T11" fmla="*/ 74 h 75"/>
              <a:gd name="T12" fmla="*/ 8 w 52"/>
              <a:gd name="T13" fmla="*/ 74 h 75"/>
              <a:gd name="T14" fmla="*/ 8 w 52"/>
              <a:gd name="T15" fmla="*/ 75 h 75"/>
              <a:gd name="T16" fmla="*/ 9 w 52"/>
              <a:gd name="T17" fmla="*/ 74 h 75"/>
              <a:gd name="T18" fmla="*/ 51 w 52"/>
              <a:gd name="T19" fmla="*/ 49 h 75"/>
              <a:gd name="T20" fmla="*/ 52 w 52"/>
              <a:gd name="T21" fmla="*/ 47 h 75"/>
              <a:gd name="T22" fmla="*/ 42 w 52"/>
              <a:gd name="T23" fmla="*/ 45 h 75"/>
              <a:gd name="T24" fmla="*/ 12 w 52"/>
              <a:gd name="T25" fmla="*/ 62 h 75"/>
              <a:gd name="T26" fmla="*/ 11 w 52"/>
              <a:gd name="T27" fmla="*/ 50 h 75"/>
              <a:gd name="T28" fmla="*/ 16 w 52"/>
              <a:gd name="T29" fmla="*/ 29 h 75"/>
              <a:gd name="T30" fmla="*/ 26 w 52"/>
              <a:gd name="T31" fmla="*/ 16 h 75"/>
              <a:gd name="T32" fmla="*/ 31 w 52"/>
              <a:gd name="T33" fmla="*/ 12 h 75"/>
              <a:gd name="T34" fmla="*/ 42 w 52"/>
              <a:gd name="T35" fmla="*/ 4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75">
                <a:moveTo>
                  <a:pt x="52" y="47"/>
                </a:moveTo>
                <a:cubicBezTo>
                  <a:pt x="37" y="1"/>
                  <a:pt x="37" y="1"/>
                  <a:pt x="37" y="1"/>
                </a:cubicBezTo>
                <a:cubicBezTo>
                  <a:pt x="37" y="0"/>
                  <a:pt x="36" y="0"/>
                  <a:pt x="36" y="0"/>
                </a:cubicBezTo>
                <a:cubicBezTo>
                  <a:pt x="36" y="0"/>
                  <a:pt x="35" y="0"/>
                  <a:pt x="35" y="0"/>
                </a:cubicBezTo>
                <a:cubicBezTo>
                  <a:pt x="23" y="5"/>
                  <a:pt x="14" y="14"/>
                  <a:pt x="8" y="25"/>
                </a:cubicBezTo>
                <a:cubicBezTo>
                  <a:pt x="0" y="40"/>
                  <a:pt x="0" y="58"/>
                  <a:pt x="7" y="74"/>
                </a:cubicBezTo>
                <a:cubicBezTo>
                  <a:pt x="7" y="74"/>
                  <a:pt x="7" y="74"/>
                  <a:pt x="8" y="74"/>
                </a:cubicBezTo>
                <a:cubicBezTo>
                  <a:pt x="8" y="75"/>
                  <a:pt x="8" y="75"/>
                  <a:pt x="8" y="75"/>
                </a:cubicBezTo>
                <a:cubicBezTo>
                  <a:pt x="9" y="75"/>
                  <a:pt x="9" y="75"/>
                  <a:pt x="9" y="74"/>
                </a:cubicBezTo>
                <a:cubicBezTo>
                  <a:pt x="51" y="49"/>
                  <a:pt x="51" y="49"/>
                  <a:pt x="51" y="49"/>
                </a:cubicBezTo>
                <a:cubicBezTo>
                  <a:pt x="52" y="49"/>
                  <a:pt x="52" y="48"/>
                  <a:pt x="52" y="47"/>
                </a:cubicBezTo>
                <a:close/>
                <a:moveTo>
                  <a:pt x="42" y="45"/>
                </a:moveTo>
                <a:cubicBezTo>
                  <a:pt x="12" y="62"/>
                  <a:pt x="12" y="62"/>
                  <a:pt x="12" y="62"/>
                </a:cubicBezTo>
                <a:cubicBezTo>
                  <a:pt x="11" y="58"/>
                  <a:pt x="11" y="54"/>
                  <a:pt x="11" y="50"/>
                </a:cubicBezTo>
                <a:cubicBezTo>
                  <a:pt x="11" y="43"/>
                  <a:pt x="12" y="36"/>
                  <a:pt x="16" y="29"/>
                </a:cubicBezTo>
                <a:cubicBezTo>
                  <a:pt x="18" y="24"/>
                  <a:pt x="22" y="20"/>
                  <a:pt x="26" y="16"/>
                </a:cubicBezTo>
                <a:cubicBezTo>
                  <a:pt x="27" y="14"/>
                  <a:pt x="29" y="13"/>
                  <a:pt x="31" y="12"/>
                </a:cubicBezTo>
                <a:lnTo>
                  <a:pt x="42" y="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76" name="Freeform 53">
            <a:extLst>
              <a:ext uri="{FF2B5EF4-FFF2-40B4-BE49-F238E27FC236}">
                <a16:creationId xmlns:a16="http://schemas.microsoft.com/office/drawing/2014/main" id="{3744C1B6-EB1E-9C43-8612-9E637852719C}"/>
              </a:ext>
            </a:extLst>
          </p:cNvPr>
          <p:cNvSpPr>
            <a:spLocks/>
          </p:cNvSpPr>
          <p:nvPr/>
        </p:nvSpPr>
        <p:spPr bwMode="auto">
          <a:xfrm>
            <a:off x="3461102" y="2432382"/>
            <a:ext cx="417667" cy="237466"/>
          </a:xfrm>
          <a:custGeom>
            <a:avLst/>
            <a:gdLst>
              <a:gd name="T0" fmla="*/ 90 w 91"/>
              <a:gd name="T1" fmla="*/ 23 h 52"/>
              <a:gd name="T2" fmla="*/ 45 w 91"/>
              <a:gd name="T3" fmla="*/ 0 h 52"/>
              <a:gd name="T4" fmla="*/ 43 w 91"/>
              <a:gd name="T5" fmla="*/ 0 h 52"/>
              <a:gd name="T6" fmla="*/ 1 w 91"/>
              <a:gd name="T7" fmla="*/ 26 h 52"/>
              <a:gd name="T8" fmla="*/ 0 w 91"/>
              <a:gd name="T9" fmla="*/ 27 h 52"/>
              <a:gd name="T10" fmla="*/ 0 w 91"/>
              <a:gd name="T11" fmla="*/ 29 h 52"/>
              <a:gd name="T12" fmla="*/ 19 w 91"/>
              <a:gd name="T13" fmla="*/ 44 h 52"/>
              <a:gd name="T14" fmla="*/ 58 w 91"/>
              <a:gd name="T15" fmla="*/ 49 h 52"/>
              <a:gd name="T16" fmla="*/ 90 w 91"/>
              <a:gd name="T17" fmla="*/ 26 h 52"/>
              <a:gd name="T18" fmla="*/ 90 w 91"/>
              <a:gd name="T19" fmla="*/ 24 h 52"/>
              <a:gd name="T20" fmla="*/ 90 w 91"/>
              <a:gd name="T21" fmla="*/ 2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52">
                <a:moveTo>
                  <a:pt x="90" y="23"/>
                </a:moveTo>
                <a:cubicBezTo>
                  <a:pt x="45" y="0"/>
                  <a:pt x="45" y="0"/>
                  <a:pt x="45" y="0"/>
                </a:cubicBezTo>
                <a:cubicBezTo>
                  <a:pt x="45" y="0"/>
                  <a:pt x="44" y="0"/>
                  <a:pt x="43" y="0"/>
                </a:cubicBezTo>
                <a:cubicBezTo>
                  <a:pt x="1" y="26"/>
                  <a:pt x="1" y="26"/>
                  <a:pt x="1" y="26"/>
                </a:cubicBezTo>
                <a:cubicBezTo>
                  <a:pt x="0" y="27"/>
                  <a:pt x="0" y="27"/>
                  <a:pt x="0" y="27"/>
                </a:cubicBezTo>
                <a:cubicBezTo>
                  <a:pt x="0" y="28"/>
                  <a:pt x="0" y="28"/>
                  <a:pt x="0" y="29"/>
                </a:cubicBezTo>
                <a:cubicBezTo>
                  <a:pt x="5" y="35"/>
                  <a:pt x="11" y="41"/>
                  <a:pt x="19" y="44"/>
                </a:cubicBezTo>
                <a:cubicBezTo>
                  <a:pt x="31" y="51"/>
                  <a:pt x="45" y="52"/>
                  <a:pt x="58" y="49"/>
                </a:cubicBezTo>
                <a:cubicBezTo>
                  <a:pt x="71" y="45"/>
                  <a:pt x="83" y="37"/>
                  <a:pt x="90" y="26"/>
                </a:cubicBezTo>
                <a:cubicBezTo>
                  <a:pt x="91" y="25"/>
                  <a:pt x="91" y="25"/>
                  <a:pt x="90" y="24"/>
                </a:cubicBezTo>
                <a:cubicBezTo>
                  <a:pt x="90" y="24"/>
                  <a:pt x="90" y="23"/>
                  <a:pt x="90" y="2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77" name="Freeform 54">
            <a:extLst>
              <a:ext uri="{FF2B5EF4-FFF2-40B4-BE49-F238E27FC236}">
                <a16:creationId xmlns:a16="http://schemas.microsoft.com/office/drawing/2014/main" id="{9B727102-0D61-6A4F-B275-58656993EAB7}"/>
              </a:ext>
            </a:extLst>
          </p:cNvPr>
          <p:cNvSpPr>
            <a:spLocks/>
          </p:cNvSpPr>
          <p:nvPr/>
        </p:nvSpPr>
        <p:spPr bwMode="auto">
          <a:xfrm>
            <a:off x="3760173" y="2664723"/>
            <a:ext cx="931586" cy="1132663"/>
          </a:xfrm>
          <a:custGeom>
            <a:avLst/>
            <a:gdLst>
              <a:gd name="T0" fmla="*/ 187 w 203"/>
              <a:gd name="T1" fmla="*/ 0 h 248"/>
              <a:gd name="T2" fmla="*/ 17 w 203"/>
              <a:gd name="T3" fmla="*/ 0 h 248"/>
              <a:gd name="T4" fmla="*/ 0 w 203"/>
              <a:gd name="T5" fmla="*/ 16 h 248"/>
              <a:gd name="T6" fmla="*/ 0 w 203"/>
              <a:gd name="T7" fmla="*/ 183 h 248"/>
              <a:gd name="T8" fmla="*/ 17 w 203"/>
              <a:gd name="T9" fmla="*/ 200 h 248"/>
              <a:gd name="T10" fmla="*/ 37 w 203"/>
              <a:gd name="T11" fmla="*/ 200 h 248"/>
              <a:gd name="T12" fmla="*/ 32 w 203"/>
              <a:gd name="T13" fmla="*/ 248 h 248"/>
              <a:gd name="T14" fmla="*/ 77 w 203"/>
              <a:gd name="T15" fmla="*/ 200 h 248"/>
              <a:gd name="T16" fmla="*/ 187 w 203"/>
              <a:gd name="T17" fmla="*/ 200 h 248"/>
              <a:gd name="T18" fmla="*/ 203 w 203"/>
              <a:gd name="T19" fmla="*/ 183 h 248"/>
              <a:gd name="T20" fmla="*/ 203 w 203"/>
              <a:gd name="T21" fmla="*/ 16 h 248"/>
              <a:gd name="T22" fmla="*/ 187 w 203"/>
              <a:gd name="T23"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3" h="248">
                <a:moveTo>
                  <a:pt x="187" y="0"/>
                </a:moveTo>
                <a:cubicBezTo>
                  <a:pt x="17" y="0"/>
                  <a:pt x="17" y="0"/>
                  <a:pt x="17" y="0"/>
                </a:cubicBezTo>
                <a:cubicBezTo>
                  <a:pt x="8" y="0"/>
                  <a:pt x="0" y="7"/>
                  <a:pt x="0" y="16"/>
                </a:cubicBezTo>
                <a:cubicBezTo>
                  <a:pt x="0" y="183"/>
                  <a:pt x="0" y="183"/>
                  <a:pt x="0" y="183"/>
                </a:cubicBezTo>
                <a:cubicBezTo>
                  <a:pt x="0" y="192"/>
                  <a:pt x="8" y="200"/>
                  <a:pt x="17" y="200"/>
                </a:cubicBezTo>
                <a:cubicBezTo>
                  <a:pt x="37" y="200"/>
                  <a:pt x="37" y="200"/>
                  <a:pt x="37" y="200"/>
                </a:cubicBezTo>
                <a:cubicBezTo>
                  <a:pt x="44" y="221"/>
                  <a:pt x="32" y="248"/>
                  <a:pt x="32" y="248"/>
                </a:cubicBezTo>
                <a:cubicBezTo>
                  <a:pt x="64" y="238"/>
                  <a:pt x="74" y="215"/>
                  <a:pt x="77" y="200"/>
                </a:cubicBezTo>
                <a:cubicBezTo>
                  <a:pt x="187" y="200"/>
                  <a:pt x="187" y="200"/>
                  <a:pt x="187" y="200"/>
                </a:cubicBezTo>
                <a:cubicBezTo>
                  <a:pt x="196" y="200"/>
                  <a:pt x="203" y="192"/>
                  <a:pt x="203" y="183"/>
                </a:cubicBezTo>
                <a:cubicBezTo>
                  <a:pt x="203" y="16"/>
                  <a:pt x="203" y="16"/>
                  <a:pt x="203" y="16"/>
                </a:cubicBezTo>
                <a:cubicBezTo>
                  <a:pt x="203" y="7"/>
                  <a:pt x="196" y="0"/>
                  <a:pt x="187"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78" name="Freeform 55">
            <a:extLst>
              <a:ext uri="{FF2B5EF4-FFF2-40B4-BE49-F238E27FC236}">
                <a16:creationId xmlns:a16="http://schemas.microsoft.com/office/drawing/2014/main" id="{B05595FB-B7B4-A249-8C13-E10625E4DDDF}"/>
              </a:ext>
            </a:extLst>
          </p:cNvPr>
          <p:cNvSpPr>
            <a:spLocks noEditPoints="1"/>
          </p:cNvSpPr>
          <p:nvPr/>
        </p:nvSpPr>
        <p:spPr bwMode="auto">
          <a:xfrm>
            <a:off x="3999086" y="2779186"/>
            <a:ext cx="458918" cy="679938"/>
          </a:xfrm>
          <a:custGeom>
            <a:avLst/>
            <a:gdLst>
              <a:gd name="T0" fmla="*/ 50 w 100"/>
              <a:gd name="T1" fmla="*/ 1 h 149"/>
              <a:gd name="T2" fmla="*/ 10 w 100"/>
              <a:gd name="T3" fmla="*/ 80 h 149"/>
              <a:gd name="T4" fmla="*/ 23 w 100"/>
              <a:gd name="T5" fmla="*/ 130 h 149"/>
              <a:gd name="T6" fmla="*/ 34 w 100"/>
              <a:gd name="T7" fmla="*/ 136 h 149"/>
              <a:gd name="T8" fmla="*/ 44 w 100"/>
              <a:gd name="T9" fmla="*/ 149 h 149"/>
              <a:gd name="T10" fmla="*/ 64 w 100"/>
              <a:gd name="T11" fmla="*/ 138 h 149"/>
              <a:gd name="T12" fmla="*/ 69 w 100"/>
              <a:gd name="T13" fmla="*/ 136 h 149"/>
              <a:gd name="T14" fmla="*/ 75 w 100"/>
              <a:gd name="T15" fmla="*/ 101 h 149"/>
              <a:gd name="T16" fmla="*/ 99 w 100"/>
              <a:gd name="T17" fmla="*/ 51 h 149"/>
              <a:gd name="T18" fmla="*/ 34 w 100"/>
              <a:gd name="T19" fmla="*/ 57 h 149"/>
              <a:gd name="T20" fmla="*/ 45 w 100"/>
              <a:gd name="T21" fmla="*/ 60 h 149"/>
              <a:gd name="T22" fmla="*/ 49 w 100"/>
              <a:gd name="T23" fmla="*/ 59 h 149"/>
              <a:gd name="T24" fmla="*/ 58 w 100"/>
              <a:gd name="T25" fmla="*/ 59 h 149"/>
              <a:gd name="T26" fmla="*/ 61 w 100"/>
              <a:gd name="T27" fmla="*/ 60 h 149"/>
              <a:gd name="T28" fmla="*/ 56 w 100"/>
              <a:gd name="T29" fmla="*/ 94 h 149"/>
              <a:gd name="T30" fmla="*/ 65 w 100"/>
              <a:gd name="T31" fmla="*/ 104 h 149"/>
              <a:gd name="T32" fmla="*/ 34 w 100"/>
              <a:gd name="T33" fmla="*/ 112 h 149"/>
              <a:gd name="T34" fmla="*/ 65 w 100"/>
              <a:gd name="T35" fmla="*/ 104 h 149"/>
              <a:gd name="T36" fmla="*/ 33 w 100"/>
              <a:gd name="T37" fmla="*/ 117 h 149"/>
              <a:gd name="T38" fmla="*/ 64 w 100"/>
              <a:gd name="T39" fmla="*/ 126 h 149"/>
              <a:gd name="T40" fmla="*/ 67 w 100"/>
              <a:gd name="T41" fmla="*/ 94 h 149"/>
              <a:gd name="T42" fmla="*/ 74 w 100"/>
              <a:gd name="T43" fmla="*/ 54 h 149"/>
              <a:gd name="T44" fmla="*/ 67 w 100"/>
              <a:gd name="T45" fmla="*/ 52 h 149"/>
              <a:gd name="T46" fmla="*/ 61 w 100"/>
              <a:gd name="T47" fmla="*/ 55 h 149"/>
              <a:gd name="T48" fmla="*/ 55 w 100"/>
              <a:gd name="T49" fmla="*/ 46 h 149"/>
              <a:gd name="T50" fmla="*/ 47 w 100"/>
              <a:gd name="T51" fmla="*/ 54 h 149"/>
              <a:gd name="T52" fmla="*/ 38 w 100"/>
              <a:gd name="T53" fmla="*/ 48 h 149"/>
              <a:gd name="T54" fmla="*/ 33 w 100"/>
              <a:gd name="T55" fmla="*/ 51 h 149"/>
              <a:gd name="T56" fmla="*/ 26 w 100"/>
              <a:gd name="T57" fmla="*/ 53 h 149"/>
              <a:gd name="T58" fmla="*/ 32 w 100"/>
              <a:gd name="T59" fmla="*/ 94 h 149"/>
              <a:gd name="T60" fmla="*/ 10 w 100"/>
              <a:gd name="T61" fmla="*/ 50 h 149"/>
              <a:gd name="T62" fmla="*/ 89 w 100"/>
              <a:gd name="T63" fmla="*/ 51 h 149"/>
              <a:gd name="T64" fmla="*/ 67 w 100"/>
              <a:gd name="T65" fmla="*/ 9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49">
                <a:moveTo>
                  <a:pt x="99" y="51"/>
                </a:moveTo>
                <a:cubicBezTo>
                  <a:pt x="100" y="23"/>
                  <a:pt x="78" y="1"/>
                  <a:pt x="50" y="1"/>
                </a:cubicBezTo>
                <a:cubicBezTo>
                  <a:pt x="23" y="0"/>
                  <a:pt x="1" y="22"/>
                  <a:pt x="0" y="50"/>
                </a:cubicBezTo>
                <a:cubicBezTo>
                  <a:pt x="0" y="61"/>
                  <a:pt x="4" y="71"/>
                  <a:pt x="10" y="80"/>
                </a:cubicBezTo>
                <a:cubicBezTo>
                  <a:pt x="15" y="87"/>
                  <a:pt x="20" y="93"/>
                  <a:pt x="24" y="100"/>
                </a:cubicBezTo>
                <a:cubicBezTo>
                  <a:pt x="23" y="130"/>
                  <a:pt x="23" y="130"/>
                  <a:pt x="23" y="130"/>
                </a:cubicBezTo>
                <a:cubicBezTo>
                  <a:pt x="23" y="133"/>
                  <a:pt x="26" y="135"/>
                  <a:pt x="28" y="135"/>
                </a:cubicBezTo>
                <a:cubicBezTo>
                  <a:pt x="34" y="136"/>
                  <a:pt x="34" y="136"/>
                  <a:pt x="34" y="136"/>
                </a:cubicBezTo>
                <a:cubicBezTo>
                  <a:pt x="34" y="138"/>
                  <a:pt x="34" y="138"/>
                  <a:pt x="34" y="138"/>
                </a:cubicBezTo>
                <a:cubicBezTo>
                  <a:pt x="34" y="144"/>
                  <a:pt x="38" y="148"/>
                  <a:pt x="44" y="149"/>
                </a:cubicBezTo>
                <a:cubicBezTo>
                  <a:pt x="53" y="149"/>
                  <a:pt x="53" y="149"/>
                  <a:pt x="53" y="149"/>
                </a:cubicBezTo>
                <a:cubicBezTo>
                  <a:pt x="59" y="149"/>
                  <a:pt x="64" y="144"/>
                  <a:pt x="64" y="138"/>
                </a:cubicBezTo>
                <a:cubicBezTo>
                  <a:pt x="64" y="136"/>
                  <a:pt x="64" y="136"/>
                  <a:pt x="64" y="136"/>
                </a:cubicBezTo>
                <a:cubicBezTo>
                  <a:pt x="69" y="136"/>
                  <a:pt x="69" y="136"/>
                  <a:pt x="69" y="136"/>
                </a:cubicBezTo>
                <a:cubicBezTo>
                  <a:pt x="72" y="136"/>
                  <a:pt x="74" y="134"/>
                  <a:pt x="74" y="131"/>
                </a:cubicBezTo>
                <a:cubicBezTo>
                  <a:pt x="75" y="101"/>
                  <a:pt x="75" y="101"/>
                  <a:pt x="75" y="101"/>
                </a:cubicBezTo>
                <a:cubicBezTo>
                  <a:pt x="79" y="94"/>
                  <a:pt x="83" y="88"/>
                  <a:pt x="88" y="81"/>
                </a:cubicBezTo>
                <a:cubicBezTo>
                  <a:pt x="95" y="73"/>
                  <a:pt x="99" y="62"/>
                  <a:pt x="99" y="51"/>
                </a:cubicBezTo>
                <a:close/>
                <a:moveTo>
                  <a:pt x="42" y="94"/>
                </a:moveTo>
                <a:cubicBezTo>
                  <a:pt x="34" y="57"/>
                  <a:pt x="34" y="57"/>
                  <a:pt x="34" y="57"/>
                </a:cubicBezTo>
                <a:cubicBezTo>
                  <a:pt x="39" y="53"/>
                  <a:pt x="39" y="53"/>
                  <a:pt x="39" y="53"/>
                </a:cubicBezTo>
                <a:cubicBezTo>
                  <a:pt x="45" y="60"/>
                  <a:pt x="45" y="60"/>
                  <a:pt x="45" y="60"/>
                </a:cubicBezTo>
                <a:cubicBezTo>
                  <a:pt x="46" y="60"/>
                  <a:pt x="47" y="60"/>
                  <a:pt x="47" y="60"/>
                </a:cubicBezTo>
                <a:cubicBezTo>
                  <a:pt x="48" y="60"/>
                  <a:pt x="49" y="60"/>
                  <a:pt x="49" y="59"/>
                </a:cubicBezTo>
                <a:cubicBezTo>
                  <a:pt x="55" y="53"/>
                  <a:pt x="55" y="53"/>
                  <a:pt x="55" y="53"/>
                </a:cubicBezTo>
                <a:cubicBezTo>
                  <a:pt x="58" y="59"/>
                  <a:pt x="58" y="59"/>
                  <a:pt x="58" y="59"/>
                </a:cubicBezTo>
                <a:cubicBezTo>
                  <a:pt x="58" y="60"/>
                  <a:pt x="59" y="60"/>
                  <a:pt x="60" y="60"/>
                </a:cubicBezTo>
                <a:cubicBezTo>
                  <a:pt x="60" y="60"/>
                  <a:pt x="61" y="60"/>
                  <a:pt x="61" y="60"/>
                </a:cubicBezTo>
                <a:cubicBezTo>
                  <a:pt x="65" y="59"/>
                  <a:pt x="65" y="59"/>
                  <a:pt x="65" y="59"/>
                </a:cubicBezTo>
                <a:cubicBezTo>
                  <a:pt x="56" y="94"/>
                  <a:pt x="56" y="94"/>
                  <a:pt x="56" y="94"/>
                </a:cubicBezTo>
                <a:lnTo>
                  <a:pt x="42" y="94"/>
                </a:lnTo>
                <a:close/>
                <a:moveTo>
                  <a:pt x="65" y="104"/>
                </a:moveTo>
                <a:cubicBezTo>
                  <a:pt x="65" y="113"/>
                  <a:pt x="65" y="113"/>
                  <a:pt x="65" y="113"/>
                </a:cubicBezTo>
                <a:cubicBezTo>
                  <a:pt x="34" y="112"/>
                  <a:pt x="34" y="112"/>
                  <a:pt x="34" y="112"/>
                </a:cubicBezTo>
                <a:cubicBezTo>
                  <a:pt x="34" y="104"/>
                  <a:pt x="34" y="104"/>
                  <a:pt x="34" y="104"/>
                </a:cubicBezTo>
                <a:lnTo>
                  <a:pt x="65" y="104"/>
                </a:lnTo>
                <a:close/>
                <a:moveTo>
                  <a:pt x="33" y="126"/>
                </a:moveTo>
                <a:cubicBezTo>
                  <a:pt x="33" y="117"/>
                  <a:pt x="33" y="117"/>
                  <a:pt x="33" y="117"/>
                </a:cubicBezTo>
                <a:cubicBezTo>
                  <a:pt x="64" y="118"/>
                  <a:pt x="64" y="118"/>
                  <a:pt x="64" y="118"/>
                </a:cubicBezTo>
                <a:cubicBezTo>
                  <a:pt x="64" y="126"/>
                  <a:pt x="64" y="126"/>
                  <a:pt x="64" y="126"/>
                </a:cubicBezTo>
                <a:lnTo>
                  <a:pt x="33" y="126"/>
                </a:lnTo>
                <a:close/>
                <a:moveTo>
                  <a:pt x="67" y="94"/>
                </a:moveTo>
                <a:cubicBezTo>
                  <a:pt x="64" y="94"/>
                  <a:pt x="64" y="94"/>
                  <a:pt x="64" y="94"/>
                </a:cubicBezTo>
                <a:cubicBezTo>
                  <a:pt x="74" y="54"/>
                  <a:pt x="74" y="54"/>
                  <a:pt x="74" y="54"/>
                </a:cubicBezTo>
                <a:cubicBezTo>
                  <a:pt x="74" y="52"/>
                  <a:pt x="73" y="49"/>
                  <a:pt x="71" y="49"/>
                </a:cubicBezTo>
                <a:cubicBezTo>
                  <a:pt x="69" y="49"/>
                  <a:pt x="67" y="50"/>
                  <a:pt x="67" y="52"/>
                </a:cubicBezTo>
                <a:cubicBezTo>
                  <a:pt x="67" y="53"/>
                  <a:pt x="67" y="53"/>
                  <a:pt x="67" y="53"/>
                </a:cubicBezTo>
                <a:cubicBezTo>
                  <a:pt x="61" y="55"/>
                  <a:pt x="61" y="55"/>
                  <a:pt x="61" y="55"/>
                </a:cubicBezTo>
                <a:cubicBezTo>
                  <a:pt x="57" y="47"/>
                  <a:pt x="57" y="47"/>
                  <a:pt x="57" y="47"/>
                </a:cubicBezTo>
                <a:cubicBezTo>
                  <a:pt x="57" y="46"/>
                  <a:pt x="56" y="46"/>
                  <a:pt x="55" y="46"/>
                </a:cubicBezTo>
                <a:cubicBezTo>
                  <a:pt x="55" y="46"/>
                  <a:pt x="54" y="46"/>
                  <a:pt x="53" y="47"/>
                </a:cubicBezTo>
                <a:cubicBezTo>
                  <a:pt x="47" y="54"/>
                  <a:pt x="47" y="54"/>
                  <a:pt x="47" y="54"/>
                </a:cubicBezTo>
                <a:cubicBezTo>
                  <a:pt x="41" y="49"/>
                  <a:pt x="41" y="49"/>
                  <a:pt x="41" y="49"/>
                </a:cubicBezTo>
                <a:cubicBezTo>
                  <a:pt x="40" y="48"/>
                  <a:pt x="39" y="48"/>
                  <a:pt x="38" y="48"/>
                </a:cubicBezTo>
                <a:cubicBezTo>
                  <a:pt x="33" y="51"/>
                  <a:pt x="33" y="51"/>
                  <a:pt x="33" y="51"/>
                </a:cubicBezTo>
                <a:cubicBezTo>
                  <a:pt x="33" y="51"/>
                  <a:pt x="33" y="51"/>
                  <a:pt x="33" y="51"/>
                </a:cubicBezTo>
                <a:cubicBezTo>
                  <a:pt x="32" y="49"/>
                  <a:pt x="30" y="48"/>
                  <a:pt x="28" y="48"/>
                </a:cubicBezTo>
                <a:cubicBezTo>
                  <a:pt x="26" y="49"/>
                  <a:pt x="25" y="51"/>
                  <a:pt x="26" y="53"/>
                </a:cubicBezTo>
                <a:cubicBezTo>
                  <a:pt x="34" y="94"/>
                  <a:pt x="34" y="94"/>
                  <a:pt x="34" y="94"/>
                </a:cubicBezTo>
                <a:cubicBezTo>
                  <a:pt x="32" y="94"/>
                  <a:pt x="32" y="94"/>
                  <a:pt x="32" y="94"/>
                </a:cubicBezTo>
                <a:cubicBezTo>
                  <a:pt x="28" y="87"/>
                  <a:pt x="23" y="80"/>
                  <a:pt x="18" y="74"/>
                </a:cubicBezTo>
                <a:cubicBezTo>
                  <a:pt x="13" y="67"/>
                  <a:pt x="10" y="59"/>
                  <a:pt x="10" y="50"/>
                </a:cubicBezTo>
                <a:cubicBezTo>
                  <a:pt x="10" y="28"/>
                  <a:pt x="28" y="10"/>
                  <a:pt x="50" y="11"/>
                </a:cubicBezTo>
                <a:cubicBezTo>
                  <a:pt x="72" y="11"/>
                  <a:pt x="90" y="29"/>
                  <a:pt x="89" y="51"/>
                </a:cubicBezTo>
                <a:cubicBezTo>
                  <a:pt x="89" y="60"/>
                  <a:pt x="86" y="68"/>
                  <a:pt x="81" y="75"/>
                </a:cubicBezTo>
                <a:cubicBezTo>
                  <a:pt x="76" y="81"/>
                  <a:pt x="71" y="88"/>
                  <a:pt x="67" y="94"/>
                </a:cubicBezTo>
                <a:close/>
              </a:path>
            </a:pathLst>
          </a:custGeom>
          <a:solidFill>
            <a:srgbClr val="F0F0F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57">
            <a:extLst>
              <a:ext uri="{FF2B5EF4-FFF2-40B4-BE49-F238E27FC236}">
                <a16:creationId xmlns:a16="http://schemas.microsoft.com/office/drawing/2014/main" id="{2E23C62D-D494-9147-9D5C-539EB0FDFADD}"/>
              </a:ext>
            </a:extLst>
          </p:cNvPr>
          <p:cNvSpPr>
            <a:spLocks/>
          </p:cNvSpPr>
          <p:nvPr/>
        </p:nvSpPr>
        <p:spPr bwMode="auto">
          <a:xfrm>
            <a:off x="3098436" y="3870846"/>
            <a:ext cx="261257" cy="246008"/>
          </a:xfrm>
          <a:custGeom>
            <a:avLst/>
            <a:gdLst>
              <a:gd name="T0" fmla="*/ 57 w 57"/>
              <a:gd name="T1" fmla="*/ 22 h 54"/>
              <a:gd name="T2" fmla="*/ 34 w 57"/>
              <a:gd name="T3" fmla="*/ 0 h 54"/>
              <a:gd name="T4" fmla="*/ 12 w 57"/>
              <a:gd name="T5" fmla="*/ 22 h 54"/>
              <a:gd name="T6" fmla="*/ 12 w 57"/>
              <a:gd name="T7" fmla="*/ 23 h 54"/>
              <a:gd name="T8" fmla="*/ 0 w 57"/>
              <a:gd name="T9" fmla="*/ 38 h 54"/>
              <a:gd name="T10" fmla="*/ 15 w 57"/>
              <a:gd name="T11" fmla="*/ 54 h 54"/>
              <a:gd name="T12" fmla="*/ 25 w 57"/>
              <a:gd name="T13" fmla="*/ 50 h 54"/>
              <a:gd name="T14" fmla="*/ 33 w 57"/>
              <a:gd name="T15" fmla="*/ 53 h 54"/>
              <a:gd name="T16" fmla="*/ 46 w 57"/>
              <a:gd name="T17" fmla="*/ 41 h 54"/>
              <a:gd name="T18" fmla="*/ 57 w 57"/>
              <a:gd name="T19" fmla="*/ 2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54">
                <a:moveTo>
                  <a:pt x="57" y="22"/>
                </a:moveTo>
                <a:cubicBezTo>
                  <a:pt x="57" y="10"/>
                  <a:pt x="47" y="0"/>
                  <a:pt x="34" y="0"/>
                </a:cubicBezTo>
                <a:cubicBezTo>
                  <a:pt x="22" y="0"/>
                  <a:pt x="12" y="10"/>
                  <a:pt x="12" y="22"/>
                </a:cubicBezTo>
                <a:cubicBezTo>
                  <a:pt x="12" y="23"/>
                  <a:pt x="12" y="23"/>
                  <a:pt x="12" y="23"/>
                </a:cubicBezTo>
                <a:cubicBezTo>
                  <a:pt x="5" y="24"/>
                  <a:pt x="0" y="31"/>
                  <a:pt x="0" y="38"/>
                </a:cubicBezTo>
                <a:cubicBezTo>
                  <a:pt x="0" y="47"/>
                  <a:pt x="7" y="54"/>
                  <a:pt x="15" y="54"/>
                </a:cubicBezTo>
                <a:cubicBezTo>
                  <a:pt x="19" y="54"/>
                  <a:pt x="22" y="53"/>
                  <a:pt x="25" y="50"/>
                </a:cubicBezTo>
                <a:cubicBezTo>
                  <a:pt x="27" y="52"/>
                  <a:pt x="30" y="53"/>
                  <a:pt x="33" y="53"/>
                </a:cubicBezTo>
                <a:cubicBezTo>
                  <a:pt x="40" y="53"/>
                  <a:pt x="45" y="48"/>
                  <a:pt x="46" y="41"/>
                </a:cubicBezTo>
                <a:cubicBezTo>
                  <a:pt x="52" y="37"/>
                  <a:pt x="57" y="30"/>
                  <a:pt x="57" y="22"/>
                </a:cubicBezTo>
                <a:close/>
              </a:path>
            </a:pathLst>
          </a:custGeom>
          <a:solidFill>
            <a:srgbClr val="3DC5C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58">
            <a:extLst>
              <a:ext uri="{FF2B5EF4-FFF2-40B4-BE49-F238E27FC236}">
                <a16:creationId xmlns:a16="http://schemas.microsoft.com/office/drawing/2014/main" id="{1FF910AA-66D2-7443-8A97-060A3F82A3CD}"/>
              </a:ext>
            </a:extLst>
          </p:cNvPr>
          <p:cNvSpPr>
            <a:spLocks/>
          </p:cNvSpPr>
          <p:nvPr/>
        </p:nvSpPr>
        <p:spPr bwMode="auto">
          <a:xfrm>
            <a:off x="3290942" y="4130521"/>
            <a:ext cx="134066" cy="160589"/>
          </a:xfrm>
          <a:custGeom>
            <a:avLst/>
            <a:gdLst>
              <a:gd name="T0" fmla="*/ 29 w 29"/>
              <a:gd name="T1" fmla="*/ 9 h 35"/>
              <a:gd name="T2" fmla="*/ 21 w 29"/>
              <a:gd name="T3" fmla="*/ 0 h 35"/>
              <a:gd name="T4" fmla="*/ 12 w 29"/>
              <a:gd name="T5" fmla="*/ 9 h 35"/>
              <a:gd name="T6" fmla="*/ 13 w 29"/>
              <a:gd name="T7" fmla="*/ 11 h 35"/>
              <a:gd name="T8" fmla="*/ 12 w 29"/>
              <a:gd name="T9" fmla="*/ 11 h 35"/>
              <a:gd name="T10" fmla="*/ 0 w 29"/>
              <a:gd name="T11" fmla="*/ 23 h 35"/>
              <a:gd name="T12" fmla="*/ 12 w 29"/>
              <a:gd name="T13" fmla="*/ 35 h 35"/>
              <a:gd name="T14" fmla="*/ 24 w 29"/>
              <a:gd name="T15" fmla="*/ 23 h 35"/>
              <a:gd name="T16" fmla="*/ 23 w 29"/>
              <a:gd name="T17" fmla="*/ 16 h 35"/>
              <a:gd name="T18" fmla="*/ 29 w 29"/>
              <a:gd name="T19" fmla="*/ 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35">
                <a:moveTo>
                  <a:pt x="29" y="9"/>
                </a:moveTo>
                <a:cubicBezTo>
                  <a:pt x="29" y="4"/>
                  <a:pt x="25" y="0"/>
                  <a:pt x="21" y="0"/>
                </a:cubicBezTo>
                <a:cubicBezTo>
                  <a:pt x="16" y="0"/>
                  <a:pt x="12" y="4"/>
                  <a:pt x="12" y="9"/>
                </a:cubicBezTo>
                <a:cubicBezTo>
                  <a:pt x="12" y="9"/>
                  <a:pt x="13" y="10"/>
                  <a:pt x="13" y="11"/>
                </a:cubicBezTo>
                <a:cubicBezTo>
                  <a:pt x="12" y="11"/>
                  <a:pt x="12" y="11"/>
                  <a:pt x="12" y="11"/>
                </a:cubicBezTo>
                <a:cubicBezTo>
                  <a:pt x="6" y="11"/>
                  <a:pt x="0" y="16"/>
                  <a:pt x="0" y="23"/>
                </a:cubicBezTo>
                <a:cubicBezTo>
                  <a:pt x="0" y="29"/>
                  <a:pt x="6" y="35"/>
                  <a:pt x="12" y="35"/>
                </a:cubicBezTo>
                <a:cubicBezTo>
                  <a:pt x="19" y="35"/>
                  <a:pt x="24" y="29"/>
                  <a:pt x="24" y="23"/>
                </a:cubicBezTo>
                <a:cubicBezTo>
                  <a:pt x="24" y="20"/>
                  <a:pt x="24" y="18"/>
                  <a:pt x="23" y="16"/>
                </a:cubicBezTo>
                <a:cubicBezTo>
                  <a:pt x="26" y="16"/>
                  <a:pt x="29" y="12"/>
                  <a:pt x="29" y="9"/>
                </a:cubicBezTo>
                <a:close/>
              </a:path>
            </a:pathLst>
          </a:custGeom>
          <a:solidFill>
            <a:srgbClr val="3DC5C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60">
            <a:extLst>
              <a:ext uri="{FF2B5EF4-FFF2-40B4-BE49-F238E27FC236}">
                <a16:creationId xmlns:a16="http://schemas.microsoft.com/office/drawing/2014/main" id="{2E5E6A02-2514-DF43-A825-E0F0D08F46A0}"/>
              </a:ext>
            </a:extLst>
          </p:cNvPr>
          <p:cNvSpPr>
            <a:spLocks/>
          </p:cNvSpPr>
          <p:nvPr/>
        </p:nvSpPr>
        <p:spPr bwMode="auto">
          <a:xfrm>
            <a:off x="1087448" y="2036036"/>
            <a:ext cx="1280502" cy="1122411"/>
          </a:xfrm>
          <a:custGeom>
            <a:avLst/>
            <a:gdLst>
              <a:gd name="T0" fmla="*/ 274 w 279"/>
              <a:gd name="T1" fmla="*/ 92 h 246"/>
              <a:gd name="T2" fmla="*/ 252 w 279"/>
              <a:gd name="T3" fmla="*/ 70 h 246"/>
              <a:gd name="T4" fmla="*/ 258 w 279"/>
              <a:gd name="T5" fmla="*/ 50 h 246"/>
              <a:gd name="T6" fmla="*/ 236 w 279"/>
              <a:gd name="T7" fmla="*/ 38 h 246"/>
              <a:gd name="T8" fmla="*/ 231 w 279"/>
              <a:gd name="T9" fmla="*/ 40 h 246"/>
              <a:gd name="T10" fmla="*/ 231 w 279"/>
              <a:gd name="T11" fmla="*/ 27 h 246"/>
              <a:gd name="T12" fmla="*/ 195 w 279"/>
              <a:gd name="T13" fmla="*/ 6 h 246"/>
              <a:gd name="T14" fmla="*/ 185 w 279"/>
              <a:gd name="T15" fmla="*/ 11 h 246"/>
              <a:gd name="T16" fmla="*/ 156 w 279"/>
              <a:gd name="T17" fmla="*/ 3 h 246"/>
              <a:gd name="T18" fmla="*/ 139 w 279"/>
              <a:gd name="T19" fmla="*/ 16 h 246"/>
              <a:gd name="T20" fmla="*/ 104 w 279"/>
              <a:gd name="T21" fmla="*/ 3 h 246"/>
              <a:gd name="T22" fmla="*/ 81 w 279"/>
              <a:gd name="T23" fmla="*/ 26 h 246"/>
              <a:gd name="T24" fmla="*/ 68 w 279"/>
              <a:gd name="T25" fmla="*/ 27 h 246"/>
              <a:gd name="T26" fmla="*/ 42 w 279"/>
              <a:gd name="T27" fmla="*/ 67 h 246"/>
              <a:gd name="T28" fmla="*/ 37 w 279"/>
              <a:gd name="T29" fmla="*/ 68 h 246"/>
              <a:gd name="T30" fmla="*/ 19 w 279"/>
              <a:gd name="T31" fmla="*/ 100 h 246"/>
              <a:gd name="T32" fmla="*/ 20 w 279"/>
              <a:gd name="T33" fmla="*/ 103 h 246"/>
              <a:gd name="T34" fmla="*/ 12 w 279"/>
              <a:gd name="T35" fmla="*/ 120 h 246"/>
              <a:gd name="T36" fmla="*/ 14 w 279"/>
              <a:gd name="T37" fmla="*/ 124 h 246"/>
              <a:gd name="T38" fmla="*/ 3 w 279"/>
              <a:gd name="T39" fmla="*/ 150 h 246"/>
              <a:gd name="T40" fmla="*/ 25 w 279"/>
              <a:gd name="T41" fmla="*/ 168 h 246"/>
              <a:gd name="T42" fmla="*/ 24 w 279"/>
              <a:gd name="T43" fmla="*/ 177 h 246"/>
              <a:gd name="T44" fmla="*/ 29 w 279"/>
              <a:gd name="T45" fmla="*/ 185 h 246"/>
              <a:gd name="T46" fmla="*/ 29 w 279"/>
              <a:gd name="T47" fmla="*/ 202 h 246"/>
              <a:gd name="T48" fmla="*/ 58 w 279"/>
              <a:gd name="T49" fmla="*/ 221 h 246"/>
              <a:gd name="T50" fmla="*/ 59 w 279"/>
              <a:gd name="T51" fmla="*/ 224 h 246"/>
              <a:gd name="T52" fmla="*/ 89 w 279"/>
              <a:gd name="T53" fmla="*/ 241 h 246"/>
              <a:gd name="T54" fmla="*/ 102 w 279"/>
              <a:gd name="T55" fmla="*/ 232 h 246"/>
              <a:gd name="T56" fmla="*/ 121 w 279"/>
              <a:gd name="T57" fmla="*/ 235 h 246"/>
              <a:gd name="T58" fmla="*/ 125 w 279"/>
              <a:gd name="T59" fmla="*/ 234 h 246"/>
              <a:gd name="T60" fmla="*/ 148 w 279"/>
              <a:gd name="T61" fmla="*/ 243 h 246"/>
              <a:gd name="T62" fmla="*/ 163 w 279"/>
              <a:gd name="T63" fmla="*/ 225 h 246"/>
              <a:gd name="T64" fmla="*/ 174 w 279"/>
              <a:gd name="T65" fmla="*/ 224 h 246"/>
              <a:gd name="T66" fmla="*/ 189 w 279"/>
              <a:gd name="T67" fmla="*/ 215 h 246"/>
              <a:gd name="T68" fmla="*/ 214 w 279"/>
              <a:gd name="T69" fmla="*/ 223 h 246"/>
              <a:gd name="T70" fmla="*/ 231 w 279"/>
              <a:gd name="T71" fmla="*/ 193 h 246"/>
              <a:gd name="T72" fmla="*/ 231 w 279"/>
              <a:gd name="T73" fmla="*/ 193 h 246"/>
              <a:gd name="T74" fmla="*/ 239 w 279"/>
              <a:gd name="T75" fmla="*/ 176 h 246"/>
              <a:gd name="T76" fmla="*/ 251 w 279"/>
              <a:gd name="T77" fmla="*/ 176 h 246"/>
              <a:gd name="T78" fmla="*/ 274 w 279"/>
              <a:gd name="T79" fmla="*/ 135 h 246"/>
              <a:gd name="T80" fmla="*/ 267 w 279"/>
              <a:gd name="T81" fmla="*/ 122 h 246"/>
              <a:gd name="T82" fmla="*/ 274 w 279"/>
              <a:gd name="T83" fmla="*/ 9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9" h="246">
                <a:moveTo>
                  <a:pt x="274" y="92"/>
                </a:moveTo>
                <a:cubicBezTo>
                  <a:pt x="271" y="81"/>
                  <a:pt x="262" y="72"/>
                  <a:pt x="252" y="70"/>
                </a:cubicBezTo>
                <a:cubicBezTo>
                  <a:pt x="257" y="65"/>
                  <a:pt x="260" y="58"/>
                  <a:pt x="258" y="50"/>
                </a:cubicBezTo>
                <a:cubicBezTo>
                  <a:pt x="256" y="41"/>
                  <a:pt x="246" y="35"/>
                  <a:pt x="236" y="38"/>
                </a:cubicBezTo>
                <a:cubicBezTo>
                  <a:pt x="234" y="38"/>
                  <a:pt x="233" y="39"/>
                  <a:pt x="231" y="40"/>
                </a:cubicBezTo>
                <a:cubicBezTo>
                  <a:pt x="232" y="35"/>
                  <a:pt x="232" y="31"/>
                  <a:pt x="231" y="27"/>
                </a:cubicBezTo>
                <a:cubicBezTo>
                  <a:pt x="227" y="11"/>
                  <a:pt x="210" y="2"/>
                  <a:pt x="195" y="6"/>
                </a:cubicBezTo>
                <a:cubicBezTo>
                  <a:pt x="191" y="7"/>
                  <a:pt x="188" y="9"/>
                  <a:pt x="185" y="11"/>
                </a:cubicBezTo>
                <a:cubicBezTo>
                  <a:pt x="177" y="4"/>
                  <a:pt x="167" y="0"/>
                  <a:pt x="156" y="3"/>
                </a:cubicBezTo>
                <a:cubicBezTo>
                  <a:pt x="148" y="5"/>
                  <a:pt x="142" y="10"/>
                  <a:pt x="139" y="16"/>
                </a:cubicBezTo>
                <a:cubicBezTo>
                  <a:pt x="131" y="5"/>
                  <a:pt x="117" y="0"/>
                  <a:pt x="104" y="3"/>
                </a:cubicBezTo>
                <a:cubicBezTo>
                  <a:pt x="92" y="7"/>
                  <a:pt x="84" y="16"/>
                  <a:pt x="81" y="26"/>
                </a:cubicBezTo>
                <a:cubicBezTo>
                  <a:pt x="77" y="26"/>
                  <a:pt x="72" y="26"/>
                  <a:pt x="68" y="27"/>
                </a:cubicBezTo>
                <a:cubicBezTo>
                  <a:pt x="50" y="32"/>
                  <a:pt x="39" y="49"/>
                  <a:pt x="42" y="67"/>
                </a:cubicBezTo>
                <a:cubicBezTo>
                  <a:pt x="40" y="67"/>
                  <a:pt x="39" y="67"/>
                  <a:pt x="37" y="68"/>
                </a:cubicBezTo>
                <a:cubicBezTo>
                  <a:pt x="23" y="72"/>
                  <a:pt x="15" y="86"/>
                  <a:pt x="19" y="100"/>
                </a:cubicBezTo>
                <a:cubicBezTo>
                  <a:pt x="19" y="101"/>
                  <a:pt x="19" y="102"/>
                  <a:pt x="20" y="103"/>
                </a:cubicBezTo>
                <a:cubicBezTo>
                  <a:pt x="14" y="106"/>
                  <a:pt x="10" y="113"/>
                  <a:pt x="12" y="120"/>
                </a:cubicBezTo>
                <a:cubicBezTo>
                  <a:pt x="12" y="121"/>
                  <a:pt x="13" y="122"/>
                  <a:pt x="14" y="124"/>
                </a:cubicBezTo>
                <a:cubicBezTo>
                  <a:pt x="5" y="129"/>
                  <a:pt x="0" y="140"/>
                  <a:pt x="3" y="150"/>
                </a:cubicBezTo>
                <a:cubicBezTo>
                  <a:pt x="6" y="161"/>
                  <a:pt x="15" y="167"/>
                  <a:pt x="25" y="168"/>
                </a:cubicBezTo>
                <a:cubicBezTo>
                  <a:pt x="24" y="171"/>
                  <a:pt x="24" y="174"/>
                  <a:pt x="24" y="177"/>
                </a:cubicBezTo>
                <a:cubicBezTo>
                  <a:pt x="25" y="180"/>
                  <a:pt x="27" y="183"/>
                  <a:pt x="29" y="185"/>
                </a:cubicBezTo>
                <a:cubicBezTo>
                  <a:pt x="28" y="190"/>
                  <a:pt x="27" y="196"/>
                  <a:pt x="29" y="202"/>
                </a:cubicBezTo>
                <a:cubicBezTo>
                  <a:pt x="32" y="215"/>
                  <a:pt x="45" y="223"/>
                  <a:pt x="58" y="221"/>
                </a:cubicBezTo>
                <a:cubicBezTo>
                  <a:pt x="58" y="222"/>
                  <a:pt x="58" y="223"/>
                  <a:pt x="59" y="224"/>
                </a:cubicBezTo>
                <a:cubicBezTo>
                  <a:pt x="62" y="237"/>
                  <a:pt x="76" y="245"/>
                  <a:pt x="89" y="241"/>
                </a:cubicBezTo>
                <a:cubicBezTo>
                  <a:pt x="94" y="240"/>
                  <a:pt x="99" y="236"/>
                  <a:pt x="102" y="232"/>
                </a:cubicBezTo>
                <a:cubicBezTo>
                  <a:pt x="108" y="236"/>
                  <a:pt x="114" y="237"/>
                  <a:pt x="121" y="235"/>
                </a:cubicBezTo>
                <a:cubicBezTo>
                  <a:pt x="122" y="235"/>
                  <a:pt x="124" y="234"/>
                  <a:pt x="125" y="234"/>
                </a:cubicBezTo>
                <a:cubicBezTo>
                  <a:pt x="129" y="241"/>
                  <a:pt x="139" y="246"/>
                  <a:pt x="148" y="243"/>
                </a:cubicBezTo>
                <a:cubicBezTo>
                  <a:pt x="156" y="241"/>
                  <a:pt x="162" y="233"/>
                  <a:pt x="163" y="225"/>
                </a:cubicBezTo>
                <a:cubicBezTo>
                  <a:pt x="167" y="225"/>
                  <a:pt x="170" y="225"/>
                  <a:pt x="174" y="224"/>
                </a:cubicBezTo>
                <a:cubicBezTo>
                  <a:pt x="180" y="223"/>
                  <a:pt x="185" y="219"/>
                  <a:pt x="189" y="215"/>
                </a:cubicBezTo>
                <a:cubicBezTo>
                  <a:pt x="195" y="222"/>
                  <a:pt x="205" y="225"/>
                  <a:pt x="214" y="223"/>
                </a:cubicBezTo>
                <a:cubicBezTo>
                  <a:pt x="227" y="219"/>
                  <a:pt x="234" y="206"/>
                  <a:pt x="231" y="193"/>
                </a:cubicBezTo>
                <a:cubicBezTo>
                  <a:pt x="231" y="193"/>
                  <a:pt x="231" y="193"/>
                  <a:pt x="231" y="193"/>
                </a:cubicBezTo>
                <a:cubicBezTo>
                  <a:pt x="235" y="189"/>
                  <a:pt x="238" y="183"/>
                  <a:pt x="239" y="176"/>
                </a:cubicBezTo>
                <a:cubicBezTo>
                  <a:pt x="243" y="177"/>
                  <a:pt x="247" y="177"/>
                  <a:pt x="251" y="176"/>
                </a:cubicBezTo>
                <a:cubicBezTo>
                  <a:pt x="269" y="171"/>
                  <a:pt x="279" y="153"/>
                  <a:pt x="274" y="135"/>
                </a:cubicBezTo>
                <a:cubicBezTo>
                  <a:pt x="273" y="130"/>
                  <a:pt x="270" y="126"/>
                  <a:pt x="267" y="122"/>
                </a:cubicBezTo>
                <a:cubicBezTo>
                  <a:pt x="274" y="114"/>
                  <a:pt x="277" y="103"/>
                  <a:pt x="274" y="92"/>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82" name="Freeform 61">
            <a:extLst>
              <a:ext uri="{FF2B5EF4-FFF2-40B4-BE49-F238E27FC236}">
                <a16:creationId xmlns:a16="http://schemas.microsoft.com/office/drawing/2014/main" id="{4221A212-18A3-674F-BCF0-76FC18D01812}"/>
              </a:ext>
            </a:extLst>
          </p:cNvPr>
          <p:cNvSpPr>
            <a:spLocks/>
          </p:cNvSpPr>
          <p:nvPr/>
        </p:nvSpPr>
        <p:spPr bwMode="auto">
          <a:xfrm>
            <a:off x="1812780" y="3120864"/>
            <a:ext cx="271569" cy="302387"/>
          </a:xfrm>
          <a:custGeom>
            <a:avLst/>
            <a:gdLst>
              <a:gd name="T0" fmla="*/ 56 w 59"/>
              <a:gd name="T1" fmla="*/ 20 h 66"/>
              <a:gd name="T2" fmla="*/ 27 w 59"/>
              <a:gd name="T3" fmla="*/ 3 h 66"/>
              <a:gd name="T4" fmla="*/ 10 w 59"/>
              <a:gd name="T5" fmla="*/ 33 h 66"/>
              <a:gd name="T6" fmla="*/ 10 w 59"/>
              <a:gd name="T7" fmla="*/ 33 h 66"/>
              <a:gd name="T8" fmla="*/ 2 w 59"/>
              <a:gd name="T9" fmla="*/ 52 h 66"/>
              <a:gd name="T10" fmla="*/ 23 w 59"/>
              <a:gd name="T11" fmla="*/ 64 h 66"/>
              <a:gd name="T12" fmla="*/ 32 w 59"/>
              <a:gd name="T13" fmla="*/ 58 h 66"/>
              <a:gd name="T14" fmla="*/ 40 w 59"/>
              <a:gd name="T15" fmla="*/ 58 h 66"/>
              <a:gd name="T16" fmla="*/ 51 w 59"/>
              <a:gd name="T17" fmla="*/ 42 h 66"/>
              <a:gd name="T18" fmla="*/ 56 w 59"/>
              <a:gd name="T19" fmla="*/ 2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66">
                <a:moveTo>
                  <a:pt x="56" y="20"/>
                </a:moveTo>
                <a:cubicBezTo>
                  <a:pt x="53" y="7"/>
                  <a:pt x="40" y="0"/>
                  <a:pt x="27" y="3"/>
                </a:cubicBezTo>
                <a:cubicBezTo>
                  <a:pt x="14" y="7"/>
                  <a:pt x="7" y="20"/>
                  <a:pt x="10" y="33"/>
                </a:cubicBezTo>
                <a:cubicBezTo>
                  <a:pt x="10" y="33"/>
                  <a:pt x="10" y="33"/>
                  <a:pt x="10" y="33"/>
                </a:cubicBezTo>
                <a:cubicBezTo>
                  <a:pt x="4" y="37"/>
                  <a:pt x="0" y="44"/>
                  <a:pt x="2" y="52"/>
                </a:cubicBezTo>
                <a:cubicBezTo>
                  <a:pt x="5" y="61"/>
                  <a:pt x="14" y="66"/>
                  <a:pt x="23" y="64"/>
                </a:cubicBezTo>
                <a:cubicBezTo>
                  <a:pt x="26" y="63"/>
                  <a:pt x="29" y="61"/>
                  <a:pt x="32" y="58"/>
                </a:cubicBezTo>
                <a:cubicBezTo>
                  <a:pt x="34" y="59"/>
                  <a:pt x="37" y="59"/>
                  <a:pt x="40" y="58"/>
                </a:cubicBezTo>
                <a:cubicBezTo>
                  <a:pt x="47" y="56"/>
                  <a:pt x="52" y="49"/>
                  <a:pt x="51" y="42"/>
                </a:cubicBezTo>
                <a:cubicBezTo>
                  <a:pt x="56" y="37"/>
                  <a:pt x="59" y="28"/>
                  <a:pt x="56" y="20"/>
                </a:cubicBezTo>
                <a:close/>
              </a:path>
            </a:pathLst>
          </a:custGeom>
          <a:solidFill>
            <a:srgbClr val="F0E08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2">
            <a:extLst>
              <a:ext uri="{FF2B5EF4-FFF2-40B4-BE49-F238E27FC236}">
                <a16:creationId xmlns:a16="http://schemas.microsoft.com/office/drawing/2014/main" id="{ACCF76F8-98C7-7F40-B655-20BB7DBE137D}"/>
              </a:ext>
            </a:extLst>
          </p:cNvPr>
          <p:cNvSpPr>
            <a:spLocks/>
          </p:cNvSpPr>
          <p:nvPr/>
        </p:nvSpPr>
        <p:spPr bwMode="auto">
          <a:xfrm>
            <a:off x="2070600" y="3363455"/>
            <a:ext cx="132347" cy="187923"/>
          </a:xfrm>
          <a:custGeom>
            <a:avLst/>
            <a:gdLst>
              <a:gd name="T0" fmla="*/ 27 w 29"/>
              <a:gd name="T1" fmla="*/ 7 h 41"/>
              <a:gd name="T2" fmla="*/ 16 w 29"/>
              <a:gd name="T3" fmla="*/ 1 h 41"/>
              <a:gd name="T4" fmla="*/ 10 w 29"/>
              <a:gd name="T5" fmla="*/ 12 h 41"/>
              <a:gd name="T6" fmla="*/ 11 w 29"/>
              <a:gd name="T7" fmla="*/ 14 h 41"/>
              <a:gd name="T8" fmla="*/ 11 w 29"/>
              <a:gd name="T9" fmla="*/ 14 h 41"/>
              <a:gd name="T10" fmla="*/ 2 w 29"/>
              <a:gd name="T11" fmla="*/ 30 h 41"/>
              <a:gd name="T12" fmla="*/ 18 w 29"/>
              <a:gd name="T13" fmla="*/ 39 h 41"/>
              <a:gd name="T14" fmla="*/ 27 w 29"/>
              <a:gd name="T15" fmla="*/ 23 h 41"/>
              <a:gd name="T16" fmla="*/ 23 w 29"/>
              <a:gd name="T17" fmla="*/ 17 h 41"/>
              <a:gd name="T18" fmla="*/ 27 w 29"/>
              <a:gd name="T19" fmla="*/ 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41">
                <a:moveTo>
                  <a:pt x="27" y="7"/>
                </a:moveTo>
                <a:cubicBezTo>
                  <a:pt x="26" y="3"/>
                  <a:pt x="21" y="0"/>
                  <a:pt x="16" y="1"/>
                </a:cubicBezTo>
                <a:cubicBezTo>
                  <a:pt x="12" y="3"/>
                  <a:pt x="9" y="7"/>
                  <a:pt x="10" y="12"/>
                </a:cubicBezTo>
                <a:cubicBezTo>
                  <a:pt x="10" y="13"/>
                  <a:pt x="11" y="13"/>
                  <a:pt x="11" y="14"/>
                </a:cubicBezTo>
                <a:cubicBezTo>
                  <a:pt x="11" y="14"/>
                  <a:pt x="11" y="14"/>
                  <a:pt x="11" y="14"/>
                </a:cubicBezTo>
                <a:cubicBezTo>
                  <a:pt x="4" y="16"/>
                  <a:pt x="0" y="23"/>
                  <a:pt x="2" y="30"/>
                </a:cubicBezTo>
                <a:cubicBezTo>
                  <a:pt x="4" y="37"/>
                  <a:pt x="11" y="41"/>
                  <a:pt x="18" y="39"/>
                </a:cubicBezTo>
                <a:cubicBezTo>
                  <a:pt x="25" y="37"/>
                  <a:pt x="29" y="30"/>
                  <a:pt x="27" y="23"/>
                </a:cubicBezTo>
                <a:cubicBezTo>
                  <a:pt x="26" y="21"/>
                  <a:pt x="25" y="19"/>
                  <a:pt x="23" y="17"/>
                </a:cubicBezTo>
                <a:cubicBezTo>
                  <a:pt x="26" y="15"/>
                  <a:pt x="28" y="11"/>
                  <a:pt x="27" y="7"/>
                </a:cubicBezTo>
                <a:close/>
              </a:path>
            </a:pathLst>
          </a:custGeom>
          <a:solidFill>
            <a:srgbClr val="F0E08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63">
            <a:extLst>
              <a:ext uri="{FF2B5EF4-FFF2-40B4-BE49-F238E27FC236}">
                <a16:creationId xmlns:a16="http://schemas.microsoft.com/office/drawing/2014/main" id="{7A972925-646F-D249-BC22-F02ED2A5CDC7}"/>
              </a:ext>
            </a:extLst>
          </p:cNvPr>
          <p:cNvSpPr>
            <a:spLocks noEditPoints="1"/>
          </p:cNvSpPr>
          <p:nvPr/>
        </p:nvSpPr>
        <p:spPr bwMode="auto">
          <a:xfrm>
            <a:off x="1426050" y="2336713"/>
            <a:ext cx="592984" cy="492016"/>
          </a:xfrm>
          <a:custGeom>
            <a:avLst/>
            <a:gdLst>
              <a:gd name="T0" fmla="*/ 128 w 129"/>
              <a:gd name="T1" fmla="*/ 66 h 108"/>
              <a:gd name="T2" fmla="*/ 128 w 129"/>
              <a:gd name="T3" fmla="*/ 74 h 108"/>
              <a:gd name="T4" fmla="*/ 82 w 129"/>
              <a:gd name="T5" fmla="*/ 44 h 108"/>
              <a:gd name="T6" fmla="*/ 109 w 129"/>
              <a:gd name="T7" fmla="*/ 4 h 108"/>
              <a:gd name="T8" fmla="*/ 113 w 129"/>
              <a:gd name="T9" fmla="*/ 10 h 108"/>
              <a:gd name="T10" fmla="*/ 128 w 129"/>
              <a:gd name="T11" fmla="*/ 66 h 108"/>
              <a:gd name="T12" fmla="*/ 65 w 129"/>
              <a:gd name="T13" fmla="*/ 56 h 108"/>
              <a:gd name="T14" fmla="*/ 102 w 129"/>
              <a:gd name="T15" fmla="*/ 0 h 108"/>
              <a:gd name="T16" fmla="*/ 95 w 129"/>
              <a:gd name="T17" fmla="*/ 0 h 108"/>
              <a:gd name="T18" fmla="*/ 11 w 129"/>
              <a:gd name="T19" fmla="*/ 23 h 108"/>
              <a:gd name="T20" fmla="*/ 5 w 129"/>
              <a:gd name="T21" fmla="*/ 27 h 108"/>
              <a:gd name="T22" fmla="*/ 65 w 129"/>
              <a:gd name="T23" fmla="*/ 56 h 108"/>
              <a:gd name="T24" fmla="*/ 78 w 129"/>
              <a:gd name="T25" fmla="*/ 50 h 108"/>
              <a:gd name="T26" fmla="*/ 69 w 129"/>
              <a:gd name="T27" fmla="*/ 63 h 108"/>
              <a:gd name="T28" fmla="*/ 67 w 129"/>
              <a:gd name="T29" fmla="*/ 64 h 108"/>
              <a:gd name="T30" fmla="*/ 65 w 129"/>
              <a:gd name="T31" fmla="*/ 64 h 108"/>
              <a:gd name="T32" fmla="*/ 51 w 129"/>
              <a:gd name="T33" fmla="*/ 57 h 108"/>
              <a:gd name="T34" fmla="*/ 26 w 129"/>
              <a:gd name="T35" fmla="*/ 107 h 108"/>
              <a:gd name="T36" fmla="*/ 34 w 129"/>
              <a:gd name="T37" fmla="*/ 107 h 108"/>
              <a:gd name="T38" fmla="*/ 118 w 129"/>
              <a:gd name="T39" fmla="*/ 84 h 108"/>
              <a:gd name="T40" fmla="*/ 125 w 129"/>
              <a:gd name="T41" fmla="*/ 80 h 108"/>
              <a:gd name="T42" fmla="*/ 78 w 129"/>
              <a:gd name="T43" fmla="*/ 50 h 108"/>
              <a:gd name="T44" fmla="*/ 1 w 129"/>
              <a:gd name="T45" fmla="*/ 33 h 108"/>
              <a:gd name="T46" fmla="*/ 1 w 129"/>
              <a:gd name="T47" fmla="*/ 41 h 108"/>
              <a:gd name="T48" fmla="*/ 16 w 129"/>
              <a:gd name="T49" fmla="*/ 97 h 108"/>
              <a:gd name="T50" fmla="*/ 20 w 129"/>
              <a:gd name="T51" fmla="*/ 103 h 108"/>
              <a:gd name="T52" fmla="*/ 44 w 129"/>
              <a:gd name="T53" fmla="*/ 54 h 108"/>
              <a:gd name="T54" fmla="*/ 1 w 129"/>
              <a:gd name="T55" fmla="*/ 3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9" h="108">
                <a:moveTo>
                  <a:pt x="128" y="66"/>
                </a:moveTo>
                <a:cubicBezTo>
                  <a:pt x="129" y="69"/>
                  <a:pt x="129" y="71"/>
                  <a:pt x="128" y="74"/>
                </a:cubicBezTo>
                <a:cubicBezTo>
                  <a:pt x="82" y="44"/>
                  <a:pt x="82" y="44"/>
                  <a:pt x="82" y="44"/>
                </a:cubicBezTo>
                <a:cubicBezTo>
                  <a:pt x="109" y="4"/>
                  <a:pt x="109" y="4"/>
                  <a:pt x="109" y="4"/>
                </a:cubicBezTo>
                <a:cubicBezTo>
                  <a:pt x="111" y="5"/>
                  <a:pt x="112" y="8"/>
                  <a:pt x="113" y="10"/>
                </a:cubicBezTo>
                <a:lnTo>
                  <a:pt x="128" y="66"/>
                </a:lnTo>
                <a:close/>
                <a:moveTo>
                  <a:pt x="65" y="56"/>
                </a:moveTo>
                <a:cubicBezTo>
                  <a:pt x="102" y="0"/>
                  <a:pt x="102" y="0"/>
                  <a:pt x="102" y="0"/>
                </a:cubicBezTo>
                <a:cubicBezTo>
                  <a:pt x="100" y="0"/>
                  <a:pt x="97" y="0"/>
                  <a:pt x="95" y="0"/>
                </a:cubicBezTo>
                <a:cubicBezTo>
                  <a:pt x="11" y="23"/>
                  <a:pt x="11" y="23"/>
                  <a:pt x="11" y="23"/>
                </a:cubicBezTo>
                <a:cubicBezTo>
                  <a:pt x="8" y="24"/>
                  <a:pt x="6" y="25"/>
                  <a:pt x="5" y="27"/>
                </a:cubicBezTo>
                <a:lnTo>
                  <a:pt x="65" y="56"/>
                </a:lnTo>
                <a:close/>
                <a:moveTo>
                  <a:pt x="78" y="50"/>
                </a:moveTo>
                <a:cubicBezTo>
                  <a:pt x="69" y="63"/>
                  <a:pt x="69" y="63"/>
                  <a:pt x="69" y="63"/>
                </a:cubicBezTo>
                <a:cubicBezTo>
                  <a:pt x="69" y="64"/>
                  <a:pt x="68" y="64"/>
                  <a:pt x="67" y="64"/>
                </a:cubicBezTo>
                <a:cubicBezTo>
                  <a:pt x="67" y="65"/>
                  <a:pt x="66" y="64"/>
                  <a:pt x="65" y="64"/>
                </a:cubicBezTo>
                <a:cubicBezTo>
                  <a:pt x="51" y="57"/>
                  <a:pt x="51" y="57"/>
                  <a:pt x="51" y="57"/>
                </a:cubicBezTo>
                <a:cubicBezTo>
                  <a:pt x="26" y="107"/>
                  <a:pt x="26" y="107"/>
                  <a:pt x="26" y="107"/>
                </a:cubicBezTo>
                <a:cubicBezTo>
                  <a:pt x="28" y="108"/>
                  <a:pt x="31" y="108"/>
                  <a:pt x="34" y="107"/>
                </a:cubicBezTo>
                <a:cubicBezTo>
                  <a:pt x="118" y="84"/>
                  <a:pt x="118" y="84"/>
                  <a:pt x="118" y="84"/>
                </a:cubicBezTo>
                <a:cubicBezTo>
                  <a:pt x="121" y="84"/>
                  <a:pt x="123" y="82"/>
                  <a:pt x="125" y="80"/>
                </a:cubicBezTo>
                <a:lnTo>
                  <a:pt x="78" y="50"/>
                </a:lnTo>
                <a:close/>
                <a:moveTo>
                  <a:pt x="1" y="33"/>
                </a:moveTo>
                <a:cubicBezTo>
                  <a:pt x="0" y="36"/>
                  <a:pt x="0" y="38"/>
                  <a:pt x="1" y="41"/>
                </a:cubicBezTo>
                <a:cubicBezTo>
                  <a:pt x="16" y="97"/>
                  <a:pt x="16" y="97"/>
                  <a:pt x="16" y="97"/>
                </a:cubicBezTo>
                <a:cubicBezTo>
                  <a:pt x="17" y="100"/>
                  <a:pt x="18" y="102"/>
                  <a:pt x="20" y="103"/>
                </a:cubicBezTo>
                <a:cubicBezTo>
                  <a:pt x="44" y="54"/>
                  <a:pt x="44" y="54"/>
                  <a:pt x="44" y="54"/>
                </a:cubicBezTo>
                <a:lnTo>
                  <a:pt x="1" y="3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85" name="Rectangle 65">
            <a:extLst>
              <a:ext uri="{FF2B5EF4-FFF2-40B4-BE49-F238E27FC236}">
                <a16:creationId xmlns:a16="http://schemas.microsoft.com/office/drawing/2014/main" id="{D9301B0D-75B7-D54E-83AA-4AAD17813ABF}"/>
              </a:ext>
            </a:extLst>
          </p:cNvPr>
          <p:cNvSpPr>
            <a:spLocks noChangeArrowheads="1"/>
          </p:cNvSpPr>
          <p:nvPr/>
        </p:nvSpPr>
        <p:spPr bwMode="auto">
          <a:xfrm rot="360000">
            <a:off x="857131" y="2996151"/>
            <a:ext cx="859397" cy="5022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6" name="Rectangle 67">
            <a:extLst>
              <a:ext uri="{FF2B5EF4-FFF2-40B4-BE49-F238E27FC236}">
                <a16:creationId xmlns:a16="http://schemas.microsoft.com/office/drawing/2014/main" id="{912D1541-79FF-AE48-B830-8BF0F87862A1}"/>
              </a:ext>
            </a:extLst>
          </p:cNvPr>
          <p:cNvSpPr>
            <a:spLocks noChangeArrowheads="1"/>
          </p:cNvSpPr>
          <p:nvPr/>
        </p:nvSpPr>
        <p:spPr bwMode="auto">
          <a:xfrm>
            <a:off x="2428108" y="2085580"/>
            <a:ext cx="867991" cy="9361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7" name="Freeform 68">
            <a:extLst>
              <a:ext uri="{FF2B5EF4-FFF2-40B4-BE49-F238E27FC236}">
                <a16:creationId xmlns:a16="http://schemas.microsoft.com/office/drawing/2014/main" id="{F0D1DD80-CADB-A443-BAF5-E8519CE9E94A}"/>
              </a:ext>
            </a:extLst>
          </p:cNvPr>
          <p:cNvSpPr>
            <a:spLocks/>
          </p:cNvSpPr>
          <p:nvPr/>
        </p:nvSpPr>
        <p:spPr bwMode="auto">
          <a:xfrm>
            <a:off x="1606524" y="2774061"/>
            <a:ext cx="1142998" cy="1269334"/>
          </a:xfrm>
          <a:custGeom>
            <a:avLst/>
            <a:gdLst>
              <a:gd name="T0" fmla="*/ 85 w 249"/>
              <a:gd name="T1" fmla="*/ 5 h 278"/>
              <a:gd name="T2" fmla="*/ 230 w 249"/>
              <a:gd name="T3" fmla="*/ 54 h 278"/>
              <a:gd name="T4" fmla="*/ 245 w 249"/>
              <a:gd name="T5" fmla="*/ 85 h 278"/>
              <a:gd name="T6" fmla="*/ 196 w 249"/>
              <a:gd name="T7" fmla="*/ 230 h 278"/>
              <a:gd name="T8" fmla="*/ 164 w 249"/>
              <a:gd name="T9" fmla="*/ 245 h 278"/>
              <a:gd name="T10" fmla="*/ 88 w 249"/>
              <a:gd name="T11" fmla="*/ 219 h 278"/>
              <a:gd name="T12" fmla="*/ 79 w 249"/>
              <a:gd name="T13" fmla="*/ 278 h 278"/>
              <a:gd name="T14" fmla="*/ 38 w 249"/>
              <a:gd name="T15" fmla="*/ 202 h 278"/>
              <a:gd name="T16" fmla="*/ 20 w 249"/>
              <a:gd name="T17" fmla="*/ 196 h 278"/>
              <a:gd name="T18" fmla="*/ 5 w 249"/>
              <a:gd name="T19" fmla="*/ 164 h 278"/>
              <a:gd name="T20" fmla="*/ 54 w 249"/>
              <a:gd name="T21" fmla="*/ 20 h 278"/>
              <a:gd name="T22" fmla="*/ 85 w 249"/>
              <a:gd name="T23" fmla="*/ 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278">
                <a:moveTo>
                  <a:pt x="85" y="5"/>
                </a:moveTo>
                <a:cubicBezTo>
                  <a:pt x="230" y="54"/>
                  <a:pt x="230" y="54"/>
                  <a:pt x="230" y="54"/>
                </a:cubicBezTo>
                <a:cubicBezTo>
                  <a:pt x="242" y="59"/>
                  <a:pt x="249" y="73"/>
                  <a:pt x="245" y="85"/>
                </a:cubicBezTo>
                <a:cubicBezTo>
                  <a:pt x="196" y="230"/>
                  <a:pt x="196" y="230"/>
                  <a:pt x="196" y="230"/>
                </a:cubicBezTo>
                <a:cubicBezTo>
                  <a:pt x="191" y="243"/>
                  <a:pt x="177" y="249"/>
                  <a:pt x="164" y="245"/>
                </a:cubicBezTo>
                <a:cubicBezTo>
                  <a:pt x="88" y="219"/>
                  <a:pt x="88" y="219"/>
                  <a:pt x="88" y="219"/>
                </a:cubicBezTo>
                <a:cubicBezTo>
                  <a:pt x="76" y="245"/>
                  <a:pt x="79" y="278"/>
                  <a:pt x="79" y="278"/>
                </a:cubicBezTo>
                <a:cubicBezTo>
                  <a:pt x="46" y="253"/>
                  <a:pt x="38" y="224"/>
                  <a:pt x="38" y="202"/>
                </a:cubicBezTo>
                <a:cubicBezTo>
                  <a:pt x="20" y="196"/>
                  <a:pt x="20" y="196"/>
                  <a:pt x="20" y="196"/>
                </a:cubicBezTo>
                <a:cubicBezTo>
                  <a:pt x="7" y="191"/>
                  <a:pt x="0" y="177"/>
                  <a:pt x="5" y="164"/>
                </a:cubicBezTo>
                <a:cubicBezTo>
                  <a:pt x="54" y="20"/>
                  <a:pt x="54" y="20"/>
                  <a:pt x="54" y="20"/>
                </a:cubicBezTo>
                <a:cubicBezTo>
                  <a:pt x="58" y="7"/>
                  <a:pt x="72" y="0"/>
                  <a:pt x="85" y="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Freeform 71">
            <a:extLst>
              <a:ext uri="{FF2B5EF4-FFF2-40B4-BE49-F238E27FC236}">
                <a16:creationId xmlns:a16="http://schemas.microsoft.com/office/drawing/2014/main" id="{1ABE87F6-3D47-CE46-85DE-FE23C5EAECAB}"/>
              </a:ext>
            </a:extLst>
          </p:cNvPr>
          <p:cNvSpPr>
            <a:spLocks/>
          </p:cNvSpPr>
          <p:nvPr/>
        </p:nvSpPr>
        <p:spPr bwMode="auto">
          <a:xfrm>
            <a:off x="1615117" y="3696591"/>
            <a:ext cx="873147" cy="761942"/>
          </a:xfrm>
          <a:custGeom>
            <a:avLst/>
            <a:gdLst>
              <a:gd name="T0" fmla="*/ 190 w 190"/>
              <a:gd name="T1" fmla="*/ 90 h 167"/>
              <a:gd name="T2" fmla="*/ 179 w 190"/>
              <a:gd name="T3" fmla="*/ 71 h 167"/>
              <a:gd name="T4" fmla="*/ 187 w 190"/>
              <a:gd name="T5" fmla="*/ 59 h 167"/>
              <a:gd name="T6" fmla="*/ 175 w 190"/>
              <a:gd name="T7" fmla="*/ 47 h 167"/>
              <a:gd name="T8" fmla="*/ 171 w 190"/>
              <a:gd name="T9" fmla="*/ 47 h 167"/>
              <a:gd name="T10" fmla="*/ 173 w 190"/>
              <a:gd name="T11" fmla="*/ 38 h 167"/>
              <a:gd name="T12" fmla="*/ 153 w 190"/>
              <a:gd name="T13" fmla="*/ 18 h 167"/>
              <a:gd name="T14" fmla="*/ 146 w 190"/>
              <a:gd name="T15" fmla="*/ 19 h 167"/>
              <a:gd name="T16" fmla="*/ 128 w 190"/>
              <a:gd name="T17" fmla="*/ 9 h 167"/>
              <a:gd name="T18" fmla="*/ 114 w 190"/>
              <a:gd name="T19" fmla="*/ 15 h 167"/>
              <a:gd name="T20" fmla="*/ 93 w 190"/>
              <a:gd name="T21" fmla="*/ 0 h 167"/>
              <a:gd name="T22" fmla="*/ 74 w 190"/>
              <a:gd name="T23" fmla="*/ 11 h 167"/>
              <a:gd name="T24" fmla="*/ 65 w 190"/>
              <a:gd name="T25" fmla="*/ 9 h 167"/>
              <a:gd name="T26" fmla="*/ 41 w 190"/>
              <a:gd name="T27" fmla="*/ 31 h 167"/>
              <a:gd name="T28" fmla="*/ 38 w 190"/>
              <a:gd name="T29" fmla="*/ 31 h 167"/>
              <a:gd name="T30" fmla="*/ 20 w 190"/>
              <a:gd name="T31" fmla="*/ 49 h 167"/>
              <a:gd name="T32" fmla="*/ 20 w 190"/>
              <a:gd name="T33" fmla="*/ 51 h 167"/>
              <a:gd name="T34" fmla="*/ 11 w 190"/>
              <a:gd name="T35" fmla="*/ 60 h 167"/>
              <a:gd name="T36" fmla="*/ 12 w 190"/>
              <a:gd name="T37" fmla="*/ 63 h 167"/>
              <a:gd name="T38" fmla="*/ 0 w 190"/>
              <a:gd name="T39" fmla="*/ 79 h 167"/>
              <a:gd name="T40" fmla="*/ 11 w 190"/>
              <a:gd name="T41" fmla="*/ 95 h 167"/>
              <a:gd name="T42" fmla="*/ 9 w 190"/>
              <a:gd name="T43" fmla="*/ 101 h 167"/>
              <a:gd name="T44" fmla="*/ 11 w 190"/>
              <a:gd name="T45" fmla="*/ 107 h 167"/>
              <a:gd name="T46" fmla="*/ 8 w 190"/>
              <a:gd name="T47" fmla="*/ 118 h 167"/>
              <a:gd name="T48" fmla="*/ 24 w 190"/>
              <a:gd name="T49" fmla="*/ 136 h 167"/>
              <a:gd name="T50" fmla="*/ 23 w 190"/>
              <a:gd name="T51" fmla="*/ 138 h 167"/>
              <a:gd name="T52" fmla="*/ 40 w 190"/>
              <a:gd name="T53" fmla="*/ 155 h 167"/>
              <a:gd name="T54" fmla="*/ 51 w 190"/>
              <a:gd name="T55" fmla="*/ 151 h 167"/>
              <a:gd name="T56" fmla="*/ 63 w 190"/>
              <a:gd name="T57" fmla="*/ 156 h 167"/>
              <a:gd name="T58" fmla="*/ 66 w 190"/>
              <a:gd name="T59" fmla="*/ 156 h 167"/>
              <a:gd name="T60" fmla="*/ 79 w 190"/>
              <a:gd name="T61" fmla="*/ 167 h 167"/>
              <a:gd name="T62" fmla="*/ 92 w 190"/>
              <a:gd name="T63" fmla="*/ 157 h 167"/>
              <a:gd name="T64" fmla="*/ 100 w 190"/>
              <a:gd name="T65" fmla="*/ 159 h 167"/>
              <a:gd name="T66" fmla="*/ 111 w 190"/>
              <a:gd name="T67" fmla="*/ 155 h 167"/>
              <a:gd name="T68" fmla="*/ 127 w 190"/>
              <a:gd name="T69" fmla="*/ 165 h 167"/>
              <a:gd name="T70" fmla="*/ 143 w 190"/>
              <a:gd name="T71" fmla="*/ 149 h 167"/>
              <a:gd name="T72" fmla="*/ 143 w 190"/>
              <a:gd name="T73" fmla="*/ 149 h 167"/>
              <a:gd name="T74" fmla="*/ 152 w 190"/>
              <a:gd name="T75" fmla="*/ 139 h 167"/>
              <a:gd name="T76" fmla="*/ 160 w 190"/>
              <a:gd name="T77" fmla="*/ 141 h 167"/>
              <a:gd name="T78" fmla="*/ 182 w 190"/>
              <a:gd name="T79" fmla="*/ 118 h 167"/>
              <a:gd name="T80" fmla="*/ 180 w 190"/>
              <a:gd name="T81" fmla="*/ 108 h 167"/>
              <a:gd name="T82" fmla="*/ 190 w 190"/>
              <a:gd name="T83" fmla="*/ 9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0" h="167">
                <a:moveTo>
                  <a:pt x="190" y="90"/>
                </a:moveTo>
                <a:cubicBezTo>
                  <a:pt x="190" y="82"/>
                  <a:pt x="186" y="74"/>
                  <a:pt x="179" y="71"/>
                </a:cubicBezTo>
                <a:cubicBezTo>
                  <a:pt x="184" y="69"/>
                  <a:pt x="187" y="64"/>
                  <a:pt x="187" y="59"/>
                </a:cubicBezTo>
                <a:cubicBezTo>
                  <a:pt x="187" y="52"/>
                  <a:pt x="182" y="47"/>
                  <a:pt x="175" y="47"/>
                </a:cubicBezTo>
                <a:cubicBezTo>
                  <a:pt x="174" y="47"/>
                  <a:pt x="172" y="47"/>
                  <a:pt x="171" y="47"/>
                </a:cubicBezTo>
                <a:cubicBezTo>
                  <a:pt x="173" y="45"/>
                  <a:pt x="173" y="42"/>
                  <a:pt x="173" y="38"/>
                </a:cubicBezTo>
                <a:cubicBezTo>
                  <a:pt x="173" y="27"/>
                  <a:pt x="164" y="18"/>
                  <a:pt x="153" y="18"/>
                </a:cubicBezTo>
                <a:cubicBezTo>
                  <a:pt x="150" y="18"/>
                  <a:pt x="148" y="19"/>
                  <a:pt x="146" y="19"/>
                </a:cubicBezTo>
                <a:cubicBezTo>
                  <a:pt x="142" y="13"/>
                  <a:pt x="135" y="9"/>
                  <a:pt x="128" y="9"/>
                </a:cubicBezTo>
                <a:cubicBezTo>
                  <a:pt x="123" y="9"/>
                  <a:pt x="118" y="11"/>
                  <a:pt x="114" y="15"/>
                </a:cubicBezTo>
                <a:cubicBezTo>
                  <a:pt x="111" y="6"/>
                  <a:pt x="103" y="0"/>
                  <a:pt x="93" y="0"/>
                </a:cubicBezTo>
                <a:cubicBezTo>
                  <a:pt x="85" y="0"/>
                  <a:pt x="78" y="4"/>
                  <a:pt x="74" y="11"/>
                </a:cubicBezTo>
                <a:cubicBezTo>
                  <a:pt x="71" y="10"/>
                  <a:pt x="68" y="9"/>
                  <a:pt x="65" y="9"/>
                </a:cubicBezTo>
                <a:cubicBezTo>
                  <a:pt x="53" y="9"/>
                  <a:pt x="42" y="19"/>
                  <a:pt x="41" y="31"/>
                </a:cubicBezTo>
                <a:cubicBezTo>
                  <a:pt x="40" y="31"/>
                  <a:pt x="39" y="31"/>
                  <a:pt x="38" y="31"/>
                </a:cubicBezTo>
                <a:cubicBezTo>
                  <a:pt x="28" y="31"/>
                  <a:pt x="20" y="39"/>
                  <a:pt x="20" y="49"/>
                </a:cubicBezTo>
                <a:cubicBezTo>
                  <a:pt x="20" y="49"/>
                  <a:pt x="20" y="50"/>
                  <a:pt x="20" y="51"/>
                </a:cubicBezTo>
                <a:cubicBezTo>
                  <a:pt x="15" y="51"/>
                  <a:pt x="11" y="56"/>
                  <a:pt x="11" y="60"/>
                </a:cubicBezTo>
                <a:cubicBezTo>
                  <a:pt x="11" y="61"/>
                  <a:pt x="12" y="62"/>
                  <a:pt x="12" y="63"/>
                </a:cubicBezTo>
                <a:cubicBezTo>
                  <a:pt x="5" y="65"/>
                  <a:pt x="0" y="72"/>
                  <a:pt x="0" y="79"/>
                </a:cubicBezTo>
                <a:cubicBezTo>
                  <a:pt x="0" y="86"/>
                  <a:pt x="5" y="92"/>
                  <a:pt x="11" y="95"/>
                </a:cubicBezTo>
                <a:cubicBezTo>
                  <a:pt x="10" y="97"/>
                  <a:pt x="9" y="99"/>
                  <a:pt x="9" y="101"/>
                </a:cubicBezTo>
                <a:cubicBezTo>
                  <a:pt x="9" y="103"/>
                  <a:pt x="10" y="105"/>
                  <a:pt x="11" y="107"/>
                </a:cubicBezTo>
                <a:cubicBezTo>
                  <a:pt x="9" y="110"/>
                  <a:pt x="8" y="114"/>
                  <a:pt x="8" y="118"/>
                </a:cubicBezTo>
                <a:cubicBezTo>
                  <a:pt x="8" y="127"/>
                  <a:pt x="15" y="135"/>
                  <a:pt x="24" y="136"/>
                </a:cubicBezTo>
                <a:cubicBezTo>
                  <a:pt x="24" y="137"/>
                  <a:pt x="23" y="137"/>
                  <a:pt x="23" y="138"/>
                </a:cubicBezTo>
                <a:cubicBezTo>
                  <a:pt x="23" y="147"/>
                  <a:pt x="31" y="155"/>
                  <a:pt x="40" y="155"/>
                </a:cubicBezTo>
                <a:cubicBezTo>
                  <a:pt x="44" y="155"/>
                  <a:pt x="48" y="153"/>
                  <a:pt x="51" y="151"/>
                </a:cubicBezTo>
                <a:cubicBezTo>
                  <a:pt x="54" y="154"/>
                  <a:pt x="58" y="156"/>
                  <a:pt x="63" y="156"/>
                </a:cubicBezTo>
                <a:cubicBezTo>
                  <a:pt x="64" y="156"/>
                  <a:pt x="65" y="156"/>
                  <a:pt x="66" y="156"/>
                </a:cubicBezTo>
                <a:cubicBezTo>
                  <a:pt x="67" y="162"/>
                  <a:pt x="73" y="167"/>
                  <a:pt x="79" y="167"/>
                </a:cubicBezTo>
                <a:cubicBezTo>
                  <a:pt x="85" y="167"/>
                  <a:pt x="90" y="163"/>
                  <a:pt x="92" y="157"/>
                </a:cubicBezTo>
                <a:cubicBezTo>
                  <a:pt x="95" y="158"/>
                  <a:pt x="97" y="159"/>
                  <a:pt x="100" y="159"/>
                </a:cubicBezTo>
                <a:cubicBezTo>
                  <a:pt x="104" y="159"/>
                  <a:pt x="108" y="158"/>
                  <a:pt x="111" y="155"/>
                </a:cubicBezTo>
                <a:cubicBezTo>
                  <a:pt x="114" y="161"/>
                  <a:pt x="120" y="165"/>
                  <a:pt x="127" y="165"/>
                </a:cubicBezTo>
                <a:cubicBezTo>
                  <a:pt x="136" y="165"/>
                  <a:pt x="143" y="158"/>
                  <a:pt x="143" y="149"/>
                </a:cubicBezTo>
                <a:cubicBezTo>
                  <a:pt x="143" y="149"/>
                  <a:pt x="143" y="149"/>
                  <a:pt x="143" y="149"/>
                </a:cubicBezTo>
                <a:cubicBezTo>
                  <a:pt x="147" y="147"/>
                  <a:pt x="150" y="143"/>
                  <a:pt x="152" y="139"/>
                </a:cubicBezTo>
                <a:cubicBezTo>
                  <a:pt x="154" y="140"/>
                  <a:pt x="157" y="141"/>
                  <a:pt x="160" y="141"/>
                </a:cubicBezTo>
                <a:cubicBezTo>
                  <a:pt x="172" y="141"/>
                  <a:pt x="182" y="131"/>
                  <a:pt x="182" y="118"/>
                </a:cubicBezTo>
                <a:cubicBezTo>
                  <a:pt x="182" y="115"/>
                  <a:pt x="181" y="111"/>
                  <a:pt x="180" y="108"/>
                </a:cubicBezTo>
                <a:cubicBezTo>
                  <a:pt x="186" y="104"/>
                  <a:pt x="190" y="98"/>
                  <a:pt x="190" y="9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Freeform 72">
            <a:extLst>
              <a:ext uri="{FF2B5EF4-FFF2-40B4-BE49-F238E27FC236}">
                <a16:creationId xmlns:a16="http://schemas.microsoft.com/office/drawing/2014/main" id="{D5E859DC-427A-8144-8C6C-2174051541E7}"/>
              </a:ext>
            </a:extLst>
          </p:cNvPr>
          <p:cNvSpPr>
            <a:spLocks/>
          </p:cNvSpPr>
          <p:nvPr/>
        </p:nvSpPr>
        <p:spPr bwMode="auto">
          <a:xfrm>
            <a:off x="1977784" y="4482451"/>
            <a:ext cx="189067" cy="182798"/>
          </a:xfrm>
          <a:custGeom>
            <a:avLst/>
            <a:gdLst>
              <a:gd name="T0" fmla="*/ 41 w 41"/>
              <a:gd name="T1" fmla="*/ 17 h 40"/>
              <a:gd name="T2" fmla="*/ 25 w 41"/>
              <a:gd name="T3" fmla="*/ 0 h 40"/>
              <a:gd name="T4" fmla="*/ 9 w 41"/>
              <a:gd name="T5" fmla="*/ 17 h 40"/>
              <a:gd name="T6" fmla="*/ 9 w 41"/>
              <a:gd name="T7" fmla="*/ 17 h 40"/>
              <a:gd name="T8" fmla="*/ 0 w 41"/>
              <a:gd name="T9" fmla="*/ 28 h 40"/>
              <a:gd name="T10" fmla="*/ 11 w 41"/>
              <a:gd name="T11" fmla="*/ 40 h 40"/>
              <a:gd name="T12" fmla="*/ 18 w 41"/>
              <a:gd name="T13" fmla="*/ 37 h 40"/>
              <a:gd name="T14" fmla="*/ 24 w 41"/>
              <a:gd name="T15" fmla="*/ 39 h 40"/>
              <a:gd name="T16" fmla="*/ 34 w 41"/>
              <a:gd name="T17" fmla="*/ 30 h 40"/>
              <a:gd name="T18" fmla="*/ 41 w 41"/>
              <a:gd name="T19"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0">
                <a:moveTo>
                  <a:pt x="41" y="17"/>
                </a:moveTo>
                <a:cubicBezTo>
                  <a:pt x="41" y="8"/>
                  <a:pt x="34" y="0"/>
                  <a:pt x="25" y="0"/>
                </a:cubicBezTo>
                <a:cubicBezTo>
                  <a:pt x="16" y="0"/>
                  <a:pt x="9" y="8"/>
                  <a:pt x="9" y="17"/>
                </a:cubicBezTo>
                <a:cubicBezTo>
                  <a:pt x="9" y="17"/>
                  <a:pt x="9" y="17"/>
                  <a:pt x="9" y="17"/>
                </a:cubicBezTo>
                <a:cubicBezTo>
                  <a:pt x="3" y="18"/>
                  <a:pt x="0" y="23"/>
                  <a:pt x="0" y="28"/>
                </a:cubicBezTo>
                <a:cubicBezTo>
                  <a:pt x="0" y="34"/>
                  <a:pt x="5" y="40"/>
                  <a:pt x="11" y="40"/>
                </a:cubicBezTo>
                <a:cubicBezTo>
                  <a:pt x="14" y="40"/>
                  <a:pt x="16" y="39"/>
                  <a:pt x="18" y="37"/>
                </a:cubicBezTo>
                <a:cubicBezTo>
                  <a:pt x="20" y="38"/>
                  <a:pt x="22" y="39"/>
                  <a:pt x="24" y="39"/>
                </a:cubicBezTo>
                <a:cubicBezTo>
                  <a:pt x="29" y="39"/>
                  <a:pt x="33" y="35"/>
                  <a:pt x="34" y="30"/>
                </a:cubicBezTo>
                <a:cubicBezTo>
                  <a:pt x="38" y="28"/>
                  <a:pt x="41" y="22"/>
                  <a:pt x="41" y="17"/>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7">
            <a:extLst>
              <a:ext uri="{FF2B5EF4-FFF2-40B4-BE49-F238E27FC236}">
                <a16:creationId xmlns:a16="http://schemas.microsoft.com/office/drawing/2014/main" id="{CDDF4AED-9138-034D-83A2-2A939D9B7AB8}"/>
              </a:ext>
            </a:extLst>
          </p:cNvPr>
          <p:cNvSpPr>
            <a:spLocks/>
          </p:cNvSpPr>
          <p:nvPr/>
        </p:nvSpPr>
        <p:spPr bwMode="auto">
          <a:xfrm flipH="1">
            <a:off x="741971" y="3483042"/>
            <a:ext cx="1007213" cy="972075"/>
          </a:xfrm>
          <a:custGeom>
            <a:avLst/>
            <a:gdLst>
              <a:gd name="T0" fmla="*/ 212 w 219"/>
              <a:gd name="T1" fmla="*/ 60 h 213"/>
              <a:gd name="T2" fmla="*/ 57 w 219"/>
              <a:gd name="T3" fmla="*/ 2 h 213"/>
              <a:gd name="T4" fmla="*/ 45 w 219"/>
              <a:gd name="T5" fmla="*/ 7 h 213"/>
              <a:gd name="T6" fmla="*/ 2 w 219"/>
              <a:gd name="T7" fmla="*/ 123 h 213"/>
              <a:gd name="T8" fmla="*/ 7 w 219"/>
              <a:gd name="T9" fmla="*/ 135 h 213"/>
              <a:gd name="T10" fmla="*/ 112 w 219"/>
              <a:gd name="T11" fmla="*/ 174 h 213"/>
              <a:gd name="T12" fmla="*/ 94 w 219"/>
              <a:gd name="T13" fmla="*/ 211 h 213"/>
              <a:gd name="T14" fmla="*/ 143 w 219"/>
              <a:gd name="T15" fmla="*/ 186 h 213"/>
              <a:gd name="T16" fmla="*/ 162 w 219"/>
              <a:gd name="T17" fmla="*/ 193 h 213"/>
              <a:gd name="T18" fmla="*/ 174 w 219"/>
              <a:gd name="T19" fmla="*/ 188 h 213"/>
              <a:gd name="T20" fmla="*/ 218 w 219"/>
              <a:gd name="T21" fmla="*/ 72 h 213"/>
              <a:gd name="T22" fmla="*/ 212 w 219"/>
              <a:gd name="T23" fmla="*/ 6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9" h="213">
                <a:moveTo>
                  <a:pt x="212" y="60"/>
                </a:moveTo>
                <a:cubicBezTo>
                  <a:pt x="57" y="2"/>
                  <a:pt x="57" y="2"/>
                  <a:pt x="57" y="2"/>
                </a:cubicBezTo>
                <a:cubicBezTo>
                  <a:pt x="52" y="0"/>
                  <a:pt x="47" y="2"/>
                  <a:pt x="45" y="7"/>
                </a:cubicBezTo>
                <a:cubicBezTo>
                  <a:pt x="2" y="123"/>
                  <a:pt x="2" y="123"/>
                  <a:pt x="2" y="123"/>
                </a:cubicBezTo>
                <a:cubicBezTo>
                  <a:pt x="0" y="128"/>
                  <a:pt x="2" y="133"/>
                  <a:pt x="7" y="135"/>
                </a:cubicBezTo>
                <a:cubicBezTo>
                  <a:pt x="112" y="174"/>
                  <a:pt x="112" y="174"/>
                  <a:pt x="112" y="174"/>
                </a:cubicBezTo>
                <a:cubicBezTo>
                  <a:pt x="112" y="193"/>
                  <a:pt x="94" y="211"/>
                  <a:pt x="94" y="211"/>
                </a:cubicBezTo>
                <a:cubicBezTo>
                  <a:pt x="123" y="213"/>
                  <a:pt x="137" y="196"/>
                  <a:pt x="143" y="186"/>
                </a:cubicBezTo>
                <a:cubicBezTo>
                  <a:pt x="162" y="193"/>
                  <a:pt x="162" y="193"/>
                  <a:pt x="162" y="193"/>
                </a:cubicBezTo>
                <a:cubicBezTo>
                  <a:pt x="167" y="195"/>
                  <a:pt x="172" y="193"/>
                  <a:pt x="174" y="188"/>
                </a:cubicBezTo>
                <a:cubicBezTo>
                  <a:pt x="218" y="72"/>
                  <a:pt x="218" y="72"/>
                  <a:pt x="218" y="72"/>
                </a:cubicBezTo>
                <a:cubicBezTo>
                  <a:pt x="219" y="67"/>
                  <a:pt x="217" y="62"/>
                  <a:pt x="212" y="6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Freeform 78">
            <a:extLst>
              <a:ext uri="{FF2B5EF4-FFF2-40B4-BE49-F238E27FC236}">
                <a16:creationId xmlns:a16="http://schemas.microsoft.com/office/drawing/2014/main" id="{EE1D4B56-FD03-CB4B-BEC1-A736479BA659}"/>
              </a:ext>
            </a:extLst>
          </p:cNvPr>
          <p:cNvSpPr>
            <a:spLocks noEditPoints="1"/>
          </p:cNvSpPr>
          <p:nvPr/>
        </p:nvSpPr>
        <p:spPr bwMode="auto">
          <a:xfrm>
            <a:off x="1027290" y="3705134"/>
            <a:ext cx="441730" cy="439056"/>
          </a:xfrm>
          <a:custGeom>
            <a:avLst/>
            <a:gdLst>
              <a:gd name="T0" fmla="*/ 60 w 96"/>
              <a:gd name="T1" fmla="*/ 16 h 96"/>
              <a:gd name="T2" fmla="*/ 80 w 96"/>
              <a:gd name="T3" fmla="*/ 60 h 96"/>
              <a:gd name="T4" fmla="*/ 36 w 96"/>
              <a:gd name="T5" fmla="*/ 80 h 96"/>
              <a:gd name="T6" fmla="*/ 16 w 96"/>
              <a:gd name="T7" fmla="*/ 36 h 96"/>
              <a:gd name="T8" fmla="*/ 60 w 96"/>
              <a:gd name="T9" fmla="*/ 16 h 96"/>
              <a:gd name="T10" fmla="*/ 63 w 96"/>
              <a:gd name="T11" fmla="*/ 8 h 96"/>
              <a:gd name="T12" fmla="*/ 8 w 96"/>
              <a:gd name="T13" fmla="*/ 33 h 96"/>
              <a:gd name="T14" fmla="*/ 33 w 96"/>
              <a:gd name="T15" fmla="*/ 88 h 96"/>
              <a:gd name="T16" fmla="*/ 87 w 96"/>
              <a:gd name="T17" fmla="*/ 63 h 96"/>
              <a:gd name="T18" fmla="*/ 63 w 96"/>
              <a:gd name="T1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60" y="16"/>
                </a:moveTo>
                <a:cubicBezTo>
                  <a:pt x="77" y="23"/>
                  <a:pt x="86" y="42"/>
                  <a:pt x="80" y="60"/>
                </a:cubicBezTo>
                <a:cubicBezTo>
                  <a:pt x="73" y="77"/>
                  <a:pt x="53" y="86"/>
                  <a:pt x="36" y="80"/>
                </a:cubicBezTo>
                <a:cubicBezTo>
                  <a:pt x="18" y="73"/>
                  <a:pt x="10" y="54"/>
                  <a:pt x="16" y="36"/>
                </a:cubicBezTo>
                <a:cubicBezTo>
                  <a:pt x="23" y="19"/>
                  <a:pt x="42" y="10"/>
                  <a:pt x="60" y="16"/>
                </a:cubicBezTo>
                <a:moveTo>
                  <a:pt x="63" y="8"/>
                </a:moveTo>
                <a:cubicBezTo>
                  <a:pt x="41" y="0"/>
                  <a:pt x="16" y="11"/>
                  <a:pt x="8" y="33"/>
                </a:cubicBezTo>
                <a:cubicBezTo>
                  <a:pt x="0" y="55"/>
                  <a:pt x="11" y="79"/>
                  <a:pt x="33" y="88"/>
                </a:cubicBezTo>
                <a:cubicBezTo>
                  <a:pt x="55" y="96"/>
                  <a:pt x="79" y="85"/>
                  <a:pt x="87" y="63"/>
                </a:cubicBezTo>
                <a:cubicBezTo>
                  <a:pt x="96" y="41"/>
                  <a:pt x="85" y="17"/>
                  <a:pt x="63" y="8"/>
                </a:cubicBezTo>
                <a:close/>
              </a:path>
            </a:pathLst>
          </a:custGeom>
          <a:solidFill>
            <a:srgbClr val="F0F0F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79">
            <a:extLst>
              <a:ext uri="{FF2B5EF4-FFF2-40B4-BE49-F238E27FC236}">
                <a16:creationId xmlns:a16="http://schemas.microsoft.com/office/drawing/2014/main" id="{4C08F9B7-83A7-7D48-9717-F4812CF20A09}"/>
              </a:ext>
            </a:extLst>
          </p:cNvPr>
          <p:cNvSpPr>
            <a:spLocks/>
          </p:cNvSpPr>
          <p:nvPr/>
        </p:nvSpPr>
        <p:spPr bwMode="auto">
          <a:xfrm>
            <a:off x="1224953" y="3775177"/>
            <a:ext cx="91096" cy="240883"/>
          </a:xfrm>
          <a:custGeom>
            <a:avLst/>
            <a:gdLst>
              <a:gd name="T0" fmla="*/ 9 w 20"/>
              <a:gd name="T1" fmla="*/ 52 h 53"/>
              <a:gd name="T2" fmla="*/ 7 w 20"/>
              <a:gd name="T3" fmla="*/ 50 h 53"/>
              <a:gd name="T4" fmla="*/ 0 w 20"/>
              <a:gd name="T5" fmla="*/ 35 h 53"/>
              <a:gd name="T6" fmla="*/ 11 w 20"/>
              <a:gd name="T7" fmla="*/ 3 h 53"/>
              <a:gd name="T8" fmla="*/ 17 w 20"/>
              <a:gd name="T9" fmla="*/ 1 h 53"/>
              <a:gd name="T10" fmla="*/ 19 w 20"/>
              <a:gd name="T11" fmla="*/ 6 h 53"/>
              <a:gd name="T12" fmla="*/ 9 w 20"/>
              <a:gd name="T13" fmla="*/ 34 h 53"/>
              <a:gd name="T14" fmla="*/ 15 w 20"/>
              <a:gd name="T15" fmla="*/ 47 h 53"/>
              <a:gd name="T16" fmla="*/ 12 w 20"/>
              <a:gd name="T17" fmla="*/ 52 h 53"/>
              <a:gd name="T18" fmla="*/ 9 w 20"/>
              <a:gd name="T19" fmla="*/ 5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3">
                <a:moveTo>
                  <a:pt x="9" y="52"/>
                </a:moveTo>
                <a:cubicBezTo>
                  <a:pt x="8" y="52"/>
                  <a:pt x="7" y="51"/>
                  <a:pt x="7" y="50"/>
                </a:cubicBezTo>
                <a:cubicBezTo>
                  <a:pt x="0" y="35"/>
                  <a:pt x="0" y="35"/>
                  <a:pt x="0" y="35"/>
                </a:cubicBezTo>
                <a:cubicBezTo>
                  <a:pt x="11" y="3"/>
                  <a:pt x="11" y="3"/>
                  <a:pt x="11" y="3"/>
                </a:cubicBezTo>
                <a:cubicBezTo>
                  <a:pt x="12" y="1"/>
                  <a:pt x="15" y="0"/>
                  <a:pt x="17" y="1"/>
                </a:cubicBezTo>
                <a:cubicBezTo>
                  <a:pt x="19" y="2"/>
                  <a:pt x="20" y="4"/>
                  <a:pt x="19" y="6"/>
                </a:cubicBezTo>
                <a:cubicBezTo>
                  <a:pt x="9" y="34"/>
                  <a:pt x="9" y="34"/>
                  <a:pt x="9" y="34"/>
                </a:cubicBezTo>
                <a:cubicBezTo>
                  <a:pt x="15" y="47"/>
                  <a:pt x="15" y="47"/>
                  <a:pt x="15" y="47"/>
                </a:cubicBezTo>
                <a:cubicBezTo>
                  <a:pt x="16" y="49"/>
                  <a:pt x="15" y="51"/>
                  <a:pt x="12" y="52"/>
                </a:cubicBezTo>
                <a:cubicBezTo>
                  <a:pt x="11" y="53"/>
                  <a:pt x="10" y="53"/>
                  <a:pt x="9" y="52"/>
                </a:cubicBezTo>
                <a:close/>
              </a:path>
            </a:pathLst>
          </a:custGeom>
          <a:solidFill>
            <a:srgbClr val="F0F0F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86">
            <a:extLst>
              <a:ext uri="{FF2B5EF4-FFF2-40B4-BE49-F238E27FC236}">
                <a16:creationId xmlns:a16="http://schemas.microsoft.com/office/drawing/2014/main" id="{E8D29697-2A98-9E4F-9BA8-D88A4882FDD4}"/>
              </a:ext>
            </a:extLst>
          </p:cNvPr>
          <p:cNvSpPr>
            <a:spLocks/>
          </p:cNvSpPr>
          <p:nvPr/>
        </p:nvSpPr>
        <p:spPr bwMode="auto">
          <a:xfrm>
            <a:off x="3070937" y="3568462"/>
            <a:ext cx="1087997" cy="1009658"/>
          </a:xfrm>
          <a:custGeom>
            <a:avLst/>
            <a:gdLst>
              <a:gd name="T0" fmla="*/ 227 w 237"/>
              <a:gd name="T1" fmla="*/ 68 h 221"/>
              <a:gd name="T2" fmla="*/ 97 w 237"/>
              <a:gd name="T3" fmla="*/ 15 h 221"/>
              <a:gd name="T4" fmla="*/ 12 w 237"/>
              <a:gd name="T5" fmla="*/ 126 h 221"/>
              <a:gd name="T6" fmla="*/ 118 w 237"/>
              <a:gd name="T7" fmla="*/ 182 h 221"/>
              <a:gd name="T8" fmla="*/ 183 w 237"/>
              <a:gd name="T9" fmla="*/ 221 h 221"/>
              <a:gd name="T10" fmla="*/ 162 w 237"/>
              <a:gd name="T11" fmla="*/ 171 h 221"/>
              <a:gd name="T12" fmla="*/ 227 w 237"/>
              <a:gd name="T13" fmla="*/ 68 h 221"/>
            </a:gdLst>
            <a:ahLst/>
            <a:cxnLst>
              <a:cxn ang="0">
                <a:pos x="T0" y="T1"/>
              </a:cxn>
              <a:cxn ang="0">
                <a:pos x="T2" y="T3"/>
              </a:cxn>
              <a:cxn ang="0">
                <a:pos x="T4" y="T5"/>
              </a:cxn>
              <a:cxn ang="0">
                <a:pos x="T6" y="T7"/>
              </a:cxn>
              <a:cxn ang="0">
                <a:pos x="T8" y="T9"/>
              </a:cxn>
              <a:cxn ang="0">
                <a:pos x="T10" y="T11"/>
              </a:cxn>
              <a:cxn ang="0">
                <a:pos x="T12" y="T13"/>
              </a:cxn>
            </a:cxnLst>
            <a:rect l="0" t="0" r="r" b="b"/>
            <a:pathLst>
              <a:path w="237" h="221">
                <a:moveTo>
                  <a:pt x="227" y="68"/>
                </a:moveTo>
                <a:cubicBezTo>
                  <a:pt x="214" y="23"/>
                  <a:pt x="157" y="0"/>
                  <a:pt x="97" y="15"/>
                </a:cubicBezTo>
                <a:cubicBezTo>
                  <a:pt x="38" y="31"/>
                  <a:pt x="0" y="81"/>
                  <a:pt x="12" y="126"/>
                </a:cubicBezTo>
                <a:cubicBezTo>
                  <a:pt x="22" y="165"/>
                  <a:pt x="68" y="188"/>
                  <a:pt x="118" y="182"/>
                </a:cubicBezTo>
                <a:cubicBezTo>
                  <a:pt x="127" y="198"/>
                  <a:pt x="145" y="220"/>
                  <a:pt x="183" y="221"/>
                </a:cubicBezTo>
                <a:cubicBezTo>
                  <a:pt x="183" y="221"/>
                  <a:pt x="163" y="196"/>
                  <a:pt x="162" y="171"/>
                </a:cubicBezTo>
                <a:cubicBezTo>
                  <a:pt x="209" y="150"/>
                  <a:pt x="237" y="108"/>
                  <a:pt x="227" y="6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Freeform 87">
            <a:extLst>
              <a:ext uri="{FF2B5EF4-FFF2-40B4-BE49-F238E27FC236}">
                <a16:creationId xmlns:a16="http://schemas.microsoft.com/office/drawing/2014/main" id="{216951DD-E25E-0A4A-9C0F-13406EC26203}"/>
              </a:ext>
            </a:extLst>
          </p:cNvPr>
          <p:cNvSpPr>
            <a:spLocks/>
          </p:cNvSpPr>
          <p:nvPr/>
        </p:nvSpPr>
        <p:spPr bwMode="auto">
          <a:xfrm>
            <a:off x="3452509" y="3887931"/>
            <a:ext cx="395323" cy="387805"/>
          </a:xfrm>
          <a:custGeom>
            <a:avLst/>
            <a:gdLst>
              <a:gd name="T0" fmla="*/ 11 w 86"/>
              <a:gd name="T1" fmla="*/ 82 h 85"/>
              <a:gd name="T2" fmla="*/ 14 w 86"/>
              <a:gd name="T3" fmla="*/ 84 h 85"/>
              <a:gd name="T4" fmla="*/ 40 w 86"/>
              <a:gd name="T5" fmla="*/ 77 h 85"/>
              <a:gd name="T6" fmla="*/ 34 w 86"/>
              <a:gd name="T7" fmla="*/ 56 h 85"/>
              <a:gd name="T8" fmla="*/ 36 w 86"/>
              <a:gd name="T9" fmla="*/ 51 h 85"/>
              <a:gd name="T10" fmla="*/ 47 w 86"/>
              <a:gd name="T11" fmla="*/ 48 h 85"/>
              <a:gd name="T12" fmla="*/ 52 w 86"/>
              <a:gd name="T13" fmla="*/ 51 h 85"/>
              <a:gd name="T14" fmla="*/ 57 w 86"/>
              <a:gd name="T15" fmla="*/ 72 h 85"/>
              <a:gd name="T16" fmla="*/ 83 w 86"/>
              <a:gd name="T17" fmla="*/ 65 h 85"/>
              <a:gd name="T18" fmla="*/ 85 w 86"/>
              <a:gd name="T19" fmla="*/ 62 h 85"/>
              <a:gd name="T20" fmla="*/ 74 w 86"/>
              <a:gd name="T21" fmla="*/ 22 h 85"/>
              <a:gd name="T22" fmla="*/ 30 w 86"/>
              <a:gd name="T23" fmla="*/ 0 h 85"/>
              <a:gd name="T24" fmla="*/ 0 w 86"/>
              <a:gd name="T25" fmla="*/ 42 h 85"/>
              <a:gd name="T26" fmla="*/ 11 w 86"/>
              <a:gd name="T27" fmla="*/ 8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85">
                <a:moveTo>
                  <a:pt x="11" y="82"/>
                </a:moveTo>
                <a:cubicBezTo>
                  <a:pt x="11" y="82"/>
                  <a:pt x="11" y="85"/>
                  <a:pt x="14" y="84"/>
                </a:cubicBezTo>
                <a:cubicBezTo>
                  <a:pt x="16" y="83"/>
                  <a:pt x="40" y="77"/>
                  <a:pt x="40" y="77"/>
                </a:cubicBezTo>
                <a:cubicBezTo>
                  <a:pt x="34" y="56"/>
                  <a:pt x="34" y="56"/>
                  <a:pt x="34" y="56"/>
                </a:cubicBezTo>
                <a:cubicBezTo>
                  <a:pt x="34" y="56"/>
                  <a:pt x="33" y="52"/>
                  <a:pt x="36" y="51"/>
                </a:cubicBezTo>
                <a:cubicBezTo>
                  <a:pt x="47" y="48"/>
                  <a:pt x="47" y="48"/>
                  <a:pt x="47" y="48"/>
                </a:cubicBezTo>
                <a:cubicBezTo>
                  <a:pt x="51" y="47"/>
                  <a:pt x="52" y="51"/>
                  <a:pt x="52" y="51"/>
                </a:cubicBezTo>
                <a:cubicBezTo>
                  <a:pt x="57" y="72"/>
                  <a:pt x="57" y="72"/>
                  <a:pt x="57" y="72"/>
                </a:cubicBezTo>
                <a:cubicBezTo>
                  <a:pt x="83" y="65"/>
                  <a:pt x="83" y="65"/>
                  <a:pt x="83" y="65"/>
                </a:cubicBezTo>
                <a:cubicBezTo>
                  <a:pt x="86" y="65"/>
                  <a:pt x="85" y="62"/>
                  <a:pt x="85" y="62"/>
                </a:cubicBezTo>
                <a:cubicBezTo>
                  <a:pt x="74" y="22"/>
                  <a:pt x="74" y="22"/>
                  <a:pt x="74" y="22"/>
                </a:cubicBezTo>
                <a:cubicBezTo>
                  <a:pt x="30" y="0"/>
                  <a:pt x="30" y="0"/>
                  <a:pt x="30" y="0"/>
                </a:cubicBezTo>
                <a:cubicBezTo>
                  <a:pt x="0" y="42"/>
                  <a:pt x="0" y="42"/>
                  <a:pt x="0" y="42"/>
                </a:cubicBezTo>
                <a:lnTo>
                  <a:pt x="11" y="82"/>
                </a:lnTo>
                <a:close/>
              </a:path>
            </a:pathLst>
          </a:custGeom>
          <a:solidFill>
            <a:srgbClr val="F1F1F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88">
            <a:extLst>
              <a:ext uri="{FF2B5EF4-FFF2-40B4-BE49-F238E27FC236}">
                <a16:creationId xmlns:a16="http://schemas.microsoft.com/office/drawing/2014/main" id="{D75ABB88-199E-944E-8D7F-BFEF5DB8AEC4}"/>
              </a:ext>
            </a:extLst>
          </p:cNvPr>
          <p:cNvSpPr>
            <a:spLocks/>
          </p:cNvSpPr>
          <p:nvPr/>
        </p:nvSpPr>
        <p:spPr bwMode="auto">
          <a:xfrm>
            <a:off x="3383757" y="3811053"/>
            <a:ext cx="472669" cy="297260"/>
          </a:xfrm>
          <a:custGeom>
            <a:avLst/>
            <a:gdLst>
              <a:gd name="T0" fmla="*/ 0 w 103"/>
              <a:gd name="T1" fmla="*/ 60 h 65"/>
              <a:gd name="T2" fmla="*/ 10 w 103"/>
              <a:gd name="T3" fmla="*/ 57 h 65"/>
              <a:gd name="T4" fmla="*/ 43 w 103"/>
              <a:gd name="T5" fmla="*/ 10 h 65"/>
              <a:gd name="T6" fmla="*/ 92 w 103"/>
              <a:gd name="T7" fmla="*/ 35 h 65"/>
              <a:gd name="T8" fmla="*/ 103 w 103"/>
              <a:gd name="T9" fmla="*/ 32 h 65"/>
              <a:gd name="T10" fmla="*/ 40 w 103"/>
              <a:gd name="T11" fmla="*/ 0 h 65"/>
              <a:gd name="T12" fmla="*/ 0 w 103"/>
              <a:gd name="T13" fmla="*/ 60 h 65"/>
            </a:gdLst>
            <a:ahLst/>
            <a:cxnLst>
              <a:cxn ang="0">
                <a:pos x="T0" y="T1"/>
              </a:cxn>
              <a:cxn ang="0">
                <a:pos x="T2" y="T3"/>
              </a:cxn>
              <a:cxn ang="0">
                <a:pos x="T4" y="T5"/>
              </a:cxn>
              <a:cxn ang="0">
                <a:pos x="T6" y="T7"/>
              </a:cxn>
              <a:cxn ang="0">
                <a:pos x="T8" y="T9"/>
              </a:cxn>
              <a:cxn ang="0">
                <a:pos x="T10" y="T11"/>
              </a:cxn>
              <a:cxn ang="0">
                <a:pos x="T12" y="T13"/>
              </a:cxn>
            </a:cxnLst>
            <a:rect l="0" t="0" r="r" b="b"/>
            <a:pathLst>
              <a:path w="103" h="65">
                <a:moveTo>
                  <a:pt x="0" y="60"/>
                </a:moveTo>
                <a:cubicBezTo>
                  <a:pt x="0" y="60"/>
                  <a:pt x="5" y="65"/>
                  <a:pt x="10" y="57"/>
                </a:cubicBezTo>
                <a:cubicBezTo>
                  <a:pt x="43" y="10"/>
                  <a:pt x="43" y="10"/>
                  <a:pt x="43" y="10"/>
                </a:cubicBezTo>
                <a:cubicBezTo>
                  <a:pt x="92" y="35"/>
                  <a:pt x="92" y="35"/>
                  <a:pt x="92" y="35"/>
                </a:cubicBezTo>
                <a:cubicBezTo>
                  <a:pt x="102" y="39"/>
                  <a:pt x="103" y="32"/>
                  <a:pt x="103" y="32"/>
                </a:cubicBezTo>
                <a:cubicBezTo>
                  <a:pt x="40" y="0"/>
                  <a:pt x="40" y="0"/>
                  <a:pt x="40" y="0"/>
                </a:cubicBezTo>
                <a:lnTo>
                  <a:pt x="0" y="60"/>
                </a:lnTo>
                <a:close/>
              </a:path>
            </a:pathLst>
          </a:custGeom>
          <a:solidFill>
            <a:srgbClr val="F1F1F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89">
            <a:extLst>
              <a:ext uri="{FF2B5EF4-FFF2-40B4-BE49-F238E27FC236}">
                <a16:creationId xmlns:a16="http://schemas.microsoft.com/office/drawing/2014/main" id="{E1EA3B89-8DC7-834D-86B7-5808E2ADB7A9}"/>
              </a:ext>
            </a:extLst>
          </p:cNvPr>
          <p:cNvSpPr>
            <a:spLocks/>
          </p:cNvSpPr>
          <p:nvPr/>
        </p:nvSpPr>
        <p:spPr bwMode="auto">
          <a:xfrm>
            <a:off x="3713764" y="3811053"/>
            <a:ext cx="68751" cy="95669"/>
          </a:xfrm>
          <a:custGeom>
            <a:avLst/>
            <a:gdLst>
              <a:gd name="T0" fmla="*/ 27 w 40"/>
              <a:gd name="T1" fmla="*/ 0 h 56"/>
              <a:gd name="T2" fmla="*/ 0 w 40"/>
              <a:gd name="T3" fmla="*/ 8 h 56"/>
              <a:gd name="T4" fmla="*/ 8 w 40"/>
              <a:gd name="T5" fmla="*/ 40 h 56"/>
              <a:gd name="T6" fmla="*/ 40 w 40"/>
              <a:gd name="T7" fmla="*/ 56 h 56"/>
              <a:gd name="T8" fmla="*/ 27 w 40"/>
              <a:gd name="T9" fmla="*/ 0 h 56"/>
            </a:gdLst>
            <a:ahLst/>
            <a:cxnLst>
              <a:cxn ang="0">
                <a:pos x="T0" y="T1"/>
              </a:cxn>
              <a:cxn ang="0">
                <a:pos x="T2" y="T3"/>
              </a:cxn>
              <a:cxn ang="0">
                <a:pos x="T4" y="T5"/>
              </a:cxn>
              <a:cxn ang="0">
                <a:pos x="T6" y="T7"/>
              </a:cxn>
              <a:cxn ang="0">
                <a:pos x="T8" y="T9"/>
              </a:cxn>
            </a:cxnLst>
            <a:rect l="0" t="0" r="r" b="b"/>
            <a:pathLst>
              <a:path w="40" h="56">
                <a:moveTo>
                  <a:pt x="27" y="0"/>
                </a:moveTo>
                <a:lnTo>
                  <a:pt x="0" y="8"/>
                </a:lnTo>
                <a:lnTo>
                  <a:pt x="8" y="40"/>
                </a:lnTo>
                <a:lnTo>
                  <a:pt x="40" y="56"/>
                </a:lnTo>
                <a:lnTo>
                  <a:pt x="27" y="0"/>
                </a:lnTo>
                <a:close/>
              </a:path>
            </a:pathLst>
          </a:custGeom>
          <a:solidFill>
            <a:srgbClr val="F1F1F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90">
            <a:extLst>
              <a:ext uri="{FF2B5EF4-FFF2-40B4-BE49-F238E27FC236}">
                <a16:creationId xmlns:a16="http://schemas.microsoft.com/office/drawing/2014/main" id="{FCA4DAFA-CD98-BE41-B261-198AE66C4024}"/>
              </a:ext>
            </a:extLst>
          </p:cNvPr>
          <p:cNvSpPr>
            <a:spLocks/>
          </p:cNvSpPr>
          <p:nvPr/>
        </p:nvSpPr>
        <p:spPr bwMode="auto">
          <a:xfrm>
            <a:off x="4054083" y="3541128"/>
            <a:ext cx="854241" cy="744857"/>
          </a:xfrm>
          <a:custGeom>
            <a:avLst/>
            <a:gdLst>
              <a:gd name="T0" fmla="*/ 0 w 186"/>
              <a:gd name="T1" fmla="*/ 88 h 163"/>
              <a:gd name="T2" fmla="*/ 11 w 186"/>
              <a:gd name="T3" fmla="*/ 69 h 163"/>
              <a:gd name="T4" fmla="*/ 3 w 186"/>
              <a:gd name="T5" fmla="*/ 58 h 163"/>
              <a:gd name="T6" fmla="*/ 15 w 186"/>
              <a:gd name="T7" fmla="*/ 46 h 163"/>
              <a:gd name="T8" fmla="*/ 19 w 186"/>
              <a:gd name="T9" fmla="*/ 46 h 163"/>
              <a:gd name="T10" fmla="*/ 17 w 186"/>
              <a:gd name="T11" fmla="*/ 38 h 163"/>
              <a:gd name="T12" fmla="*/ 37 w 186"/>
              <a:gd name="T13" fmla="*/ 18 h 163"/>
              <a:gd name="T14" fmla="*/ 44 w 186"/>
              <a:gd name="T15" fmla="*/ 19 h 163"/>
              <a:gd name="T16" fmla="*/ 61 w 186"/>
              <a:gd name="T17" fmla="*/ 9 h 163"/>
              <a:gd name="T18" fmla="*/ 75 w 186"/>
              <a:gd name="T19" fmla="*/ 15 h 163"/>
              <a:gd name="T20" fmla="*/ 95 w 186"/>
              <a:gd name="T21" fmla="*/ 0 h 163"/>
              <a:gd name="T22" fmla="*/ 114 w 186"/>
              <a:gd name="T23" fmla="*/ 11 h 163"/>
              <a:gd name="T24" fmla="*/ 122 w 186"/>
              <a:gd name="T25" fmla="*/ 9 h 163"/>
              <a:gd name="T26" fmla="*/ 146 w 186"/>
              <a:gd name="T27" fmla="*/ 30 h 163"/>
              <a:gd name="T28" fmla="*/ 149 w 186"/>
              <a:gd name="T29" fmla="*/ 30 h 163"/>
              <a:gd name="T30" fmla="*/ 167 w 186"/>
              <a:gd name="T31" fmla="*/ 48 h 163"/>
              <a:gd name="T32" fmla="*/ 167 w 186"/>
              <a:gd name="T33" fmla="*/ 50 h 163"/>
              <a:gd name="T34" fmla="*/ 175 w 186"/>
              <a:gd name="T35" fmla="*/ 59 h 163"/>
              <a:gd name="T36" fmla="*/ 174 w 186"/>
              <a:gd name="T37" fmla="*/ 62 h 163"/>
              <a:gd name="T38" fmla="*/ 186 w 186"/>
              <a:gd name="T39" fmla="*/ 78 h 163"/>
              <a:gd name="T40" fmla="*/ 175 w 186"/>
              <a:gd name="T41" fmla="*/ 93 h 163"/>
              <a:gd name="T42" fmla="*/ 177 w 186"/>
              <a:gd name="T43" fmla="*/ 99 h 163"/>
              <a:gd name="T44" fmla="*/ 175 w 186"/>
              <a:gd name="T45" fmla="*/ 105 h 163"/>
              <a:gd name="T46" fmla="*/ 178 w 186"/>
              <a:gd name="T47" fmla="*/ 115 h 163"/>
              <a:gd name="T48" fmla="*/ 163 w 186"/>
              <a:gd name="T49" fmla="*/ 133 h 163"/>
              <a:gd name="T50" fmla="*/ 163 w 186"/>
              <a:gd name="T51" fmla="*/ 135 h 163"/>
              <a:gd name="T52" fmla="*/ 146 w 186"/>
              <a:gd name="T53" fmla="*/ 151 h 163"/>
              <a:gd name="T54" fmla="*/ 136 w 186"/>
              <a:gd name="T55" fmla="*/ 148 h 163"/>
              <a:gd name="T56" fmla="*/ 125 w 186"/>
              <a:gd name="T57" fmla="*/ 153 h 163"/>
              <a:gd name="T58" fmla="*/ 122 w 186"/>
              <a:gd name="T59" fmla="*/ 153 h 163"/>
              <a:gd name="T60" fmla="*/ 109 w 186"/>
              <a:gd name="T61" fmla="*/ 163 h 163"/>
              <a:gd name="T62" fmla="*/ 96 w 186"/>
              <a:gd name="T63" fmla="*/ 154 h 163"/>
              <a:gd name="T64" fmla="*/ 88 w 186"/>
              <a:gd name="T65" fmla="*/ 156 h 163"/>
              <a:gd name="T66" fmla="*/ 77 w 186"/>
              <a:gd name="T67" fmla="*/ 152 h 163"/>
              <a:gd name="T68" fmla="*/ 62 w 186"/>
              <a:gd name="T69" fmla="*/ 162 h 163"/>
              <a:gd name="T70" fmla="*/ 46 w 186"/>
              <a:gd name="T71" fmla="*/ 145 h 163"/>
              <a:gd name="T72" fmla="*/ 46 w 186"/>
              <a:gd name="T73" fmla="*/ 145 h 163"/>
              <a:gd name="T74" fmla="*/ 38 w 186"/>
              <a:gd name="T75" fmla="*/ 136 h 163"/>
              <a:gd name="T76" fmla="*/ 30 w 186"/>
              <a:gd name="T77" fmla="*/ 138 h 163"/>
              <a:gd name="T78" fmla="*/ 8 w 186"/>
              <a:gd name="T79" fmla="*/ 116 h 163"/>
              <a:gd name="T80" fmla="*/ 10 w 186"/>
              <a:gd name="T81" fmla="*/ 106 h 163"/>
              <a:gd name="T82" fmla="*/ 0 w 186"/>
              <a:gd name="T83" fmla="*/ 8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6" h="163">
                <a:moveTo>
                  <a:pt x="0" y="88"/>
                </a:moveTo>
                <a:cubicBezTo>
                  <a:pt x="0" y="80"/>
                  <a:pt x="4" y="73"/>
                  <a:pt x="11" y="69"/>
                </a:cubicBezTo>
                <a:cubicBezTo>
                  <a:pt x="6" y="68"/>
                  <a:pt x="3" y="63"/>
                  <a:pt x="3" y="58"/>
                </a:cubicBezTo>
                <a:cubicBezTo>
                  <a:pt x="3" y="51"/>
                  <a:pt x="9" y="46"/>
                  <a:pt x="15" y="46"/>
                </a:cubicBezTo>
                <a:cubicBezTo>
                  <a:pt x="16" y="46"/>
                  <a:pt x="18" y="46"/>
                  <a:pt x="19" y="46"/>
                </a:cubicBezTo>
                <a:cubicBezTo>
                  <a:pt x="17" y="44"/>
                  <a:pt x="17" y="41"/>
                  <a:pt x="17" y="38"/>
                </a:cubicBezTo>
                <a:cubicBezTo>
                  <a:pt x="17" y="27"/>
                  <a:pt x="26" y="18"/>
                  <a:pt x="37" y="18"/>
                </a:cubicBezTo>
                <a:cubicBezTo>
                  <a:pt x="39" y="18"/>
                  <a:pt x="42" y="18"/>
                  <a:pt x="44" y="19"/>
                </a:cubicBezTo>
                <a:cubicBezTo>
                  <a:pt x="47" y="13"/>
                  <a:pt x="54" y="9"/>
                  <a:pt x="61" y="9"/>
                </a:cubicBezTo>
                <a:cubicBezTo>
                  <a:pt x="66" y="9"/>
                  <a:pt x="71" y="11"/>
                  <a:pt x="75" y="15"/>
                </a:cubicBezTo>
                <a:cubicBezTo>
                  <a:pt x="78" y="6"/>
                  <a:pt x="86" y="0"/>
                  <a:pt x="95" y="0"/>
                </a:cubicBezTo>
                <a:cubicBezTo>
                  <a:pt x="103" y="0"/>
                  <a:pt x="110" y="5"/>
                  <a:pt x="114" y="11"/>
                </a:cubicBezTo>
                <a:cubicBezTo>
                  <a:pt x="116" y="10"/>
                  <a:pt x="119" y="9"/>
                  <a:pt x="122" y="9"/>
                </a:cubicBezTo>
                <a:cubicBezTo>
                  <a:pt x="135" y="9"/>
                  <a:pt x="145" y="19"/>
                  <a:pt x="146" y="30"/>
                </a:cubicBezTo>
                <a:cubicBezTo>
                  <a:pt x="147" y="30"/>
                  <a:pt x="148" y="30"/>
                  <a:pt x="149" y="30"/>
                </a:cubicBezTo>
                <a:cubicBezTo>
                  <a:pt x="159" y="30"/>
                  <a:pt x="167" y="38"/>
                  <a:pt x="167" y="48"/>
                </a:cubicBezTo>
                <a:cubicBezTo>
                  <a:pt x="167" y="49"/>
                  <a:pt x="167" y="49"/>
                  <a:pt x="167" y="50"/>
                </a:cubicBezTo>
                <a:cubicBezTo>
                  <a:pt x="171" y="51"/>
                  <a:pt x="175" y="55"/>
                  <a:pt x="175" y="59"/>
                </a:cubicBezTo>
                <a:cubicBezTo>
                  <a:pt x="175" y="60"/>
                  <a:pt x="175" y="61"/>
                  <a:pt x="174" y="62"/>
                </a:cubicBezTo>
                <a:cubicBezTo>
                  <a:pt x="181" y="64"/>
                  <a:pt x="186" y="70"/>
                  <a:pt x="186" y="78"/>
                </a:cubicBezTo>
                <a:cubicBezTo>
                  <a:pt x="186" y="85"/>
                  <a:pt x="181" y="91"/>
                  <a:pt x="175" y="93"/>
                </a:cubicBezTo>
                <a:cubicBezTo>
                  <a:pt x="176" y="95"/>
                  <a:pt x="177" y="97"/>
                  <a:pt x="177" y="99"/>
                </a:cubicBezTo>
                <a:cubicBezTo>
                  <a:pt x="177" y="101"/>
                  <a:pt x="176" y="103"/>
                  <a:pt x="175" y="105"/>
                </a:cubicBezTo>
                <a:cubicBezTo>
                  <a:pt x="177" y="108"/>
                  <a:pt x="178" y="111"/>
                  <a:pt x="178" y="115"/>
                </a:cubicBezTo>
                <a:cubicBezTo>
                  <a:pt x="178" y="124"/>
                  <a:pt x="172" y="132"/>
                  <a:pt x="163" y="133"/>
                </a:cubicBezTo>
                <a:cubicBezTo>
                  <a:pt x="163" y="134"/>
                  <a:pt x="163" y="134"/>
                  <a:pt x="163" y="135"/>
                </a:cubicBezTo>
                <a:cubicBezTo>
                  <a:pt x="163" y="144"/>
                  <a:pt x="156" y="151"/>
                  <a:pt x="146" y="151"/>
                </a:cubicBezTo>
                <a:cubicBezTo>
                  <a:pt x="143" y="151"/>
                  <a:pt x="139" y="150"/>
                  <a:pt x="136" y="148"/>
                </a:cubicBezTo>
                <a:cubicBezTo>
                  <a:pt x="133" y="151"/>
                  <a:pt x="129" y="153"/>
                  <a:pt x="125" y="153"/>
                </a:cubicBezTo>
                <a:cubicBezTo>
                  <a:pt x="124" y="153"/>
                  <a:pt x="123" y="153"/>
                  <a:pt x="122" y="153"/>
                </a:cubicBezTo>
                <a:cubicBezTo>
                  <a:pt x="120" y="159"/>
                  <a:pt x="115" y="163"/>
                  <a:pt x="109" y="163"/>
                </a:cubicBezTo>
                <a:cubicBezTo>
                  <a:pt x="103" y="163"/>
                  <a:pt x="98" y="159"/>
                  <a:pt x="96" y="154"/>
                </a:cubicBezTo>
                <a:cubicBezTo>
                  <a:pt x="94" y="155"/>
                  <a:pt x="91" y="156"/>
                  <a:pt x="88" y="156"/>
                </a:cubicBezTo>
                <a:cubicBezTo>
                  <a:pt x="84" y="156"/>
                  <a:pt x="80" y="154"/>
                  <a:pt x="77" y="152"/>
                </a:cubicBezTo>
                <a:cubicBezTo>
                  <a:pt x="75" y="158"/>
                  <a:pt x="69" y="162"/>
                  <a:pt x="62" y="162"/>
                </a:cubicBezTo>
                <a:cubicBezTo>
                  <a:pt x="53" y="162"/>
                  <a:pt x="46" y="154"/>
                  <a:pt x="46" y="145"/>
                </a:cubicBezTo>
                <a:cubicBezTo>
                  <a:pt x="46" y="145"/>
                  <a:pt x="46" y="145"/>
                  <a:pt x="46" y="145"/>
                </a:cubicBezTo>
                <a:cubicBezTo>
                  <a:pt x="42" y="143"/>
                  <a:pt x="39" y="140"/>
                  <a:pt x="38" y="136"/>
                </a:cubicBezTo>
                <a:cubicBezTo>
                  <a:pt x="35" y="137"/>
                  <a:pt x="33" y="138"/>
                  <a:pt x="30" y="138"/>
                </a:cubicBezTo>
                <a:cubicBezTo>
                  <a:pt x="18" y="138"/>
                  <a:pt x="8" y="128"/>
                  <a:pt x="8" y="116"/>
                </a:cubicBezTo>
                <a:cubicBezTo>
                  <a:pt x="8" y="112"/>
                  <a:pt x="9" y="109"/>
                  <a:pt x="10" y="106"/>
                </a:cubicBezTo>
                <a:cubicBezTo>
                  <a:pt x="4" y="102"/>
                  <a:pt x="0" y="96"/>
                  <a:pt x="0" y="8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91">
            <a:extLst>
              <a:ext uri="{FF2B5EF4-FFF2-40B4-BE49-F238E27FC236}">
                <a16:creationId xmlns:a16="http://schemas.microsoft.com/office/drawing/2014/main" id="{9DB5AA2C-D479-5F43-A01D-8DADD0C40E89}"/>
              </a:ext>
            </a:extLst>
          </p:cNvPr>
          <p:cNvSpPr>
            <a:spLocks/>
          </p:cNvSpPr>
          <p:nvPr/>
        </p:nvSpPr>
        <p:spPr bwMode="auto">
          <a:xfrm>
            <a:off x="4365184" y="4313321"/>
            <a:ext cx="189067" cy="172549"/>
          </a:xfrm>
          <a:custGeom>
            <a:avLst/>
            <a:gdLst>
              <a:gd name="T0" fmla="*/ 0 w 41"/>
              <a:gd name="T1" fmla="*/ 16 h 38"/>
              <a:gd name="T2" fmla="*/ 16 w 41"/>
              <a:gd name="T3" fmla="*/ 0 h 38"/>
              <a:gd name="T4" fmla="*/ 32 w 41"/>
              <a:gd name="T5" fmla="*/ 16 h 38"/>
              <a:gd name="T6" fmla="*/ 32 w 41"/>
              <a:gd name="T7" fmla="*/ 16 h 38"/>
              <a:gd name="T8" fmla="*/ 41 w 41"/>
              <a:gd name="T9" fmla="*/ 27 h 38"/>
              <a:gd name="T10" fmla="*/ 30 w 41"/>
              <a:gd name="T11" fmla="*/ 38 h 38"/>
              <a:gd name="T12" fmla="*/ 23 w 41"/>
              <a:gd name="T13" fmla="*/ 36 h 38"/>
              <a:gd name="T14" fmla="*/ 17 w 41"/>
              <a:gd name="T15" fmla="*/ 37 h 38"/>
              <a:gd name="T16" fmla="*/ 8 w 41"/>
              <a:gd name="T17" fmla="*/ 29 h 38"/>
              <a:gd name="T18" fmla="*/ 0 w 41"/>
              <a:gd name="T19" fmla="*/ 1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8">
                <a:moveTo>
                  <a:pt x="0" y="16"/>
                </a:moveTo>
                <a:cubicBezTo>
                  <a:pt x="0" y="7"/>
                  <a:pt x="7" y="0"/>
                  <a:pt x="16" y="0"/>
                </a:cubicBezTo>
                <a:cubicBezTo>
                  <a:pt x="25" y="0"/>
                  <a:pt x="32" y="7"/>
                  <a:pt x="32" y="16"/>
                </a:cubicBezTo>
                <a:cubicBezTo>
                  <a:pt x="32" y="16"/>
                  <a:pt x="32" y="16"/>
                  <a:pt x="32" y="16"/>
                </a:cubicBezTo>
                <a:cubicBezTo>
                  <a:pt x="37" y="17"/>
                  <a:pt x="41" y="21"/>
                  <a:pt x="41" y="27"/>
                </a:cubicBezTo>
                <a:cubicBezTo>
                  <a:pt x="41" y="33"/>
                  <a:pt x="36" y="38"/>
                  <a:pt x="30" y="38"/>
                </a:cubicBezTo>
                <a:cubicBezTo>
                  <a:pt x="27" y="38"/>
                  <a:pt x="25" y="37"/>
                  <a:pt x="23" y="36"/>
                </a:cubicBezTo>
                <a:cubicBezTo>
                  <a:pt x="21" y="37"/>
                  <a:pt x="20" y="37"/>
                  <a:pt x="17" y="37"/>
                </a:cubicBezTo>
                <a:cubicBezTo>
                  <a:pt x="13" y="37"/>
                  <a:pt x="8" y="34"/>
                  <a:pt x="8" y="29"/>
                </a:cubicBezTo>
                <a:cubicBezTo>
                  <a:pt x="3" y="26"/>
                  <a:pt x="0" y="21"/>
                  <a:pt x="0" y="1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92">
            <a:extLst>
              <a:ext uri="{FF2B5EF4-FFF2-40B4-BE49-F238E27FC236}">
                <a16:creationId xmlns:a16="http://schemas.microsoft.com/office/drawing/2014/main" id="{916FB009-FA21-A64A-94A5-DC2C1094F09F}"/>
              </a:ext>
            </a:extLst>
          </p:cNvPr>
          <p:cNvSpPr>
            <a:spLocks/>
          </p:cNvSpPr>
          <p:nvPr/>
        </p:nvSpPr>
        <p:spPr bwMode="auto">
          <a:xfrm>
            <a:off x="4320495" y="4499536"/>
            <a:ext cx="96252" cy="111046"/>
          </a:xfrm>
          <a:custGeom>
            <a:avLst/>
            <a:gdLst>
              <a:gd name="T0" fmla="*/ 0 w 21"/>
              <a:gd name="T1" fmla="*/ 5 h 24"/>
              <a:gd name="T2" fmla="*/ 6 w 21"/>
              <a:gd name="T3" fmla="*/ 0 h 24"/>
              <a:gd name="T4" fmla="*/ 12 w 21"/>
              <a:gd name="T5" fmla="*/ 5 h 24"/>
              <a:gd name="T6" fmla="*/ 12 w 21"/>
              <a:gd name="T7" fmla="*/ 7 h 24"/>
              <a:gd name="T8" fmla="*/ 12 w 21"/>
              <a:gd name="T9" fmla="*/ 7 h 24"/>
              <a:gd name="T10" fmla="*/ 21 w 21"/>
              <a:gd name="T11" fmla="*/ 16 h 24"/>
              <a:gd name="T12" fmla="*/ 12 w 21"/>
              <a:gd name="T13" fmla="*/ 24 h 24"/>
              <a:gd name="T14" fmla="*/ 3 w 21"/>
              <a:gd name="T15" fmla="*/ 16 h 24"/>
              <a:gd name="T16" fmla="*/ 5 w 21"/>
              <a:gd name="T17" fmla="*/ 11 h 24"/>
              <a:gd name="T18" fmla="*/ 0 w 21"/>
              <a:gd name="T19"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4">
                <a:moveTo>
                  <a:pt x="0" y="5"/>
                </a:moveTo>
                <a:cubicBezTo>
                  <a:pt x="0" y="2"/>
                  <a:pt x="3" y="0"/>
                  <a:pt x="6" y="0"/>
                </a:cubicBezTo>
                <a:cubicBezTo>
                  <a:pt x="9" y="0"/>
                  <a:pt x="12" y="2"/>
                  <a:pt x="12" y="5"/>
                </a:cubicBezTo>
                <a:cubicBezTo>
                  <a:pt x="12" y="6"/>
                  <a:pt x="12" y="6"/>
                  <a:pt x="12" y="7"/>
                </a:cubicBezTo>
                <a:cubicBezTo>
                  <a:pt x="12" y="7"/>
                  <a:pt x="12" y="7"/>
                  <a:pt x="12" y="7"/>
                </a:cubicBezTo>
                <a:cubicBezTo>
                  <a:pt x="17" y="7"/>
                  <a:pt x="21" y="11"/>
                  <a:pt x="21" y="16"/>
                </a:cubicBezTo>
                <a:cubicBezTo>
                  <a:pt x="21" y="20"/>
                  <a:pt x="17" y="24"/>
                  <a:pt x="12" y="24"/>
                </a:cubicBezTo>
                <a:cubicBezTo>
                  <a:pt x="7" y="24"/>
                  <a:pt x="3" y="20"/>
                  <a:pt x="3" y="16"/>
                </a:cubicBezTo>
                <a:cubicBezTo>
                  <a:pt x="3" y="14"/>
                  <a:pt x="4" y="12"/>
                  <a:pt x="5" y="11"/>
                </a:cubicBezTo>
                <a:cubicBezTo>
                  <a:pt x="2" y="10"/>
                  <a:pt x="0" y="8"/>
                  <a:pt x="0" y="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93">
            <a:extLst>
              <a:ext uri="{FF2B5EF4-FFF2-40B4-BE49-F238E27FC236}">
                <a16:creationId xmlns:a16="http://schemas.microsoft.com/office/drawing/2014/main" id="{771F6D86-8B1C-FE4D-811D-351FC9959A6D}"/>
              </a:ext>
            </a:extLst>
          </p:cNvPr>
          <p:cNvSpPr>
            <a:spLocks noEditPoints="1"/>
          </p:cNvSpPr>
          <p:nvPr/>
        </p:nvSpPr>
        <p:spPr bwMode="auto">
          <a:xfrm>
            <a:off x="4310186" y="3742715"/>
            <a:ext cx="340321" cy="341677"/>
          </a:xfrm>
          <a:custGeom>
            <a:avLst/>
            <a:gdLst>
              <a:gd name="T0" fmla="*/ 74 w 74"/>
              <a:gd name="T1" fmla="*/ 40 h 75"/>
              <a:gd name="T2" fmla="*/ 39 w 74"/>
              <a:gd name="T3" fmla="*/ 75 h 75"/>
              <a:gd name="T4" fmla="*/ 37 w 74"/>
              <a:gd name="T5" fmla="*/ 75 h 75"/>
              <a:gd name="T6" fmla="*/ 34 w 74"/>
              <a:gd name="T7" fmla="*/ 75 h 75"/>
              <a:gd name="T8" fmla="*/ 0 w 74"/>
              <a:gd name="T9" fmla="*/ 40 h 75"/>
              <a:gd name="T10" fmla="*/ 0 w 74"/>
              <a:gd name="T11" fmla="*/ 35 h 75"/>
              <a:gd name="T12" fmla="*/ 34 w 74"/>
              <a:gd name="T13" fmla="*/ 1 h 75"/>
              <a:gd name="T14" fmla="*/ 37 w 74"/>
              <a:gd name="T15" fmla="*/ 0 h 75"/>
              <a:gd name="T16" fmla="*/ 39 w 74"/>
              <a:gd name="T17" fmla="*/ 1 h 75"/>
              <a:gd name="T18" fmla="*/ 74 w 74"/>
              <a:gd name="T19" fmla="*/ 35 h 75"/>
              <a:gd name="T20" fmla="*/ 21 w 74"/>
              <a:gd name="T21" fmla="*/ 50 h 75"/>
              <a:gd name="T22" fmla="*/ 34 w 74"/>
              <a:gd name="T23" fmla="*/ 40 h 75"/>
              <a:gd name="T24" fmla="*/ 21 w 74"/>
              <a:gd name="T25" fmla="*/ 50 h 75"/>
              <a:gd name="T26" fmla="*/ 34 w 74"/>
              <a:gd name="T27" fmla="*/ 55 h 75"/>
              <a:gd name="T28" fmla="*/ 34 w 74"/>
              <a:gd name="T29" fmla="*/ 70 h 75"/>
              <a:gd name="T30" fmla="*/ 34 w 74"/>
              <a:gd name="T31" fmla="*/ 35 h 75"/>
              <a:gd name="T32" fmla="*/ 21 w 74"/>
              <a:gd name="T33" fmla="*/ 25 h 75"/>
              <a:gd name="T34" fmla="*/ 64 w 74"/>
              <a:gd name="T35" fmla="*/ 20 h 75"/>
              <a:gd name="T36" fmla="*/ 57 w 74"/>
              <a:gd name="T37" fmla="*/ 20 h 75"/>
              <a:gd name="T38" fmla="*/ 22 w 74"/>
              <a:gd name="T39" fmla="*/ 20 h 75"/>
              <a:gd name="T40" fmla="*/ 34 w 74"/>
              <a:gd name="T41" fmla="*/ 6 h 75"/>
              <a:gd name="T42" fmla="*/ 10 w 74"/>
              <a:gd name="T43" fmla="*/ 55 h 75"/>
              <a:gd name="T44" fmla="*/ 17 w 74"/>
              <a:gd name="T45" fmla="*/ 55 h 75"/>
              <a:gd name="T46" fmla="*/ 16 w 74"/>
              <a:gd name="T47" fmla="*/ 25 h 75"/>
              <a:gd name="T48" fmla="*/ 5 w 74"/>
              <a:gd name="T49" fmla="*/ 35 h 75"/>
              <a:gd name="T50" fmla="*/ 16 w 74"/>
              <a:gd name="T51" fmla="*/ 25 h 75"/>
              <a:gd name="T52" fmla="*/ 5 w 74"/>
              <a:gd name="T53" fmla="*/ 40 h 75"/>
              <a:gd name="T54" fmla="*/ 16 w 74"/>
              <a:gd name="T55" fmla="*/ 50 h 75"/>
              <a:gd name="T56" fmla="*/ 23 w 74"/>
              <a:gd name="T57" fmla="*/ 9 h 75"/>
              <a:gd name="T58" fmla="*/ 17 w 74"/>
              <a:gd name="T59" fmla="*/ 20 h 75"/>
              <a:gd name="T60" fmla="*/ 58 w 74"/>
              <a:gd name="T61" fmla="*/ 25 h 75"/>
              <a:gd name="T62" fmla="*/ 69 w 74"/>
              <a:gd name="T63" fmla="*/ 35 h 75"/>
              <a:gd name="T64" fmla="*/ 58 w 74"/>
              <a:gd name="T65" fmla="*/ 25 h 75"/>
              <a:gd name="T66" fmla="*/ 64 w 74"/>
              <a:gd name="T67" fmla="*/ 55 h 75"/>
              <a:gd name="T68" fmla="*/ 51 w 74"/>
              <a:gd name="T69" fmla="*/ 67 h 75"/>
              <a:gd name="T70" fmla="*/ 67 w 74"/>
              <a:gd name="T71" fmla="*/ 50 h 75"/>
              <a:gd name="T72" fmla="*/ 59 w 74"/>
              <a:gd name="T73" fmla="*/ 40 h 75"/>
              <a:gd name="T74" fmla="*/ 39 w 74"/>
              <a:gd name="T75" fmla="*/ 6 h 75"/>
              <a:gd name="T76" fmla="*/ 52 w 74"/>
              <a:gd name="T77" fmla="*/ 20 h 75"/>
              <a:gd name="T78" fmla="*/ 53 w 74"/>
              <a:gd name="T79" fmla="*/ 25 h 75"/>
              <a:gd name="T80" fmla="*/ 39 w 74"/>
              <a:gd name="T81" fmla="*/ 35 h 75"/>
              <a:gd name="T82" fmla="*/ 53 w 74"/>
              <a:gd name="T83" fmla="*/ 25 h 75"/>
              <a:gd name="T84" fmla="*/ 39 w 74"/>
              <a:gd name="T85" fmla="*/ 40 h 75"/>
              <a:gd name="T86" fmla="*/ 53 w 74"/>
              <a:gd name="T87" fmla="*/ 50 h 75"/>
              <a:gd name="T88" fmla="*/ 39 w 74"/>
              <a:gd name="T89" fmla="*/ 55 h 75"/>
              <a:gd name="T90" fmla="*/ 52 w 74"/>
              <a:gd name="T91" fmla="*/ 5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75">
                <a:moveTo>
                  <a:pt x="74" y="38"/>
                </a:moveTo>
                <a:cubicBezTo>
                  <a:pt x="74" y="40"/>
                  <a:pt x="74" y="40"/>
                  <a:pt x="74" y="40"/>
                </a:cubicBezTo>
                <a:cubicBezTo>
                  <a:pt x="74" y="40"/>
                  <a:pt x="74" y="40"/>
                  <a:pt x="74" y="40"/>
                </a:cubicBezTo>
                <a:cubicBezTo>
                  <a:pt x="73" y="59"/>
                  <a:pt x="58" y="74"/>
                  <a:pt x="39" y="75"/>
                </a:cubicBezTo>
                <a:cubicBezTo>
                  <a:pt x="39" y="75"/>
                  <a:pt x="39" y="75"/>
                  <a:pt x="39" y="75"/>
                </a:cubicBezTo>
                <a:cubicBezTo>
                  <a:pt x="37" y="75"/>
                  <a:pt x="37" y="75"/>
                  <a:pt x="37" y="75"/>
                </a:cubicBezTo>
                <a:cubicBezTo>
                  <a:pt x="34" y="75"/>
                  <a:pt x="34" y="75"/>
                  <a:pt x="34" y="75"/>
                </a:cubicBezTo>
                <a:cubicBezTo>
                  <a:pt x="34" y="75"/>
                  <a:pt x="34" y="75"/>
                  <a:pt x="34" y="75"/>
                </a:cubicBezTo>
                <a:cubicBezTo>
                  <a:pt x="16" y="74"/>
                  <a:pt x="1" y="59"/>
                  <a:pt x="0" y="40"/>
                </a:cubicBezTo>
                <a:cubicBezTo>
                  <a:pt x="0" y="40"/>
                  <a:pt x="0" y="40"/>
                  <a:pt x="0" y="40"/>
                </a:cubicBezTo>
                <a:cubicBezTo>
                  <a:pt x="0" y="38"/>
                  <a:pt x="0" y="38"/>
                  <a:pt x="0" y="38"/>
                </a:cubicBezTo>
                <a:cubicBezTo>
                  <a:pt x="0" y="35"/>
                  <a:pt x="0" y="35"/>
                  <a:pt x="0" y="35"/>
                </a:cubicBezTo>
                <a:cubicBezTo>
                  <a:pt x="0" y="35"/>
                  <a:pt x="0" y="35"/>
                  <a:pt x="0" y="35"/>
                </a:cubicBezTo>
                <a:cubicBezTo>
                  <a:pt x="1" y="17"/>
                  <a:pt x="16" y="2"/>
                  <a:pt x="34" y="1"/>
                </a:cubicBezTo>
                <a:cubicBezTo>
                  <a:pt x="34" y="0"/>
                  <a:pt x="34" y="0"/>
                  <a:pt x="34" y="0"/>
                </a:cubicBezTo>
                <a:cubicBezTo>
                  <a:pt x="37" y="0"/>
                  <a:pt x="37" y="0"/>
                  <a:pt x="37" y="0"/>
                </a:cubicBezTo>
                <a:cubicBezTo>
                  <a:pt x="39" y="0"/>
                  <a:pt x="39" y="0"/>
                  <a:pt x="39" y="0"/>
                </a:cubicBezTo>
                <a:cubicBezTo>
                  <a:pt x="39" y="1"/>
                  <a:pt x="39" y="1"/>
                  <a:pt x="39" y="1"/>
                </a:cubicBezTo>
                <a:cubicBezTo>
                  <a:pt x="58" y="2"/>
                  <a:pt x="73" y="17"/>
                  <a:pt x="74" y="35"/>
                </a:cubicBezTo>
                <a:cubicBezTo>
                  <a:pt x="74" y="35"/>
                  <a:pt x="74" y="35"/>
                  <a:pt x="74" y="35"/>
                </a:cubicBezTo>
                <a:lnTo>
                  <a:pt x="74" y="38"/>
                </a:lnTo>
                <a:close/>
                <a:moveTo>
                  <a:pt x="21" y="50"/>
                </a:moveTo>
                <a:cubicBezTo>
                  <a:pt x="34" y="50"/>
                  <a:pt x="34" y="50"/>
                  <a:pt x="34" y="50"/>
                </a:cubicBezTo>
                <a:cubicBezTo>
                  <a:pt x="34" y="40"/>
                  <a:pt x="34" y="40"/>
                  <a:pt x="34" y="40"/>
                </a:cubicBezTo>
                <a:cubicBezTo>
                  <a:pt x="20" y="40"/>
                  <a:pt x="20" y="40"/>
                  <a:pt x="20" y="40"/>
                </a:cubicBezTo>
                <a:cubicBezTo>
                  <a:pt x="20" y="44"/>
                  <a:pt x="20" y="47"/>
                  <a:pt x="21" y="50"/>
                </a:cubicBezTo>
                <a:close/>
                <a:moveTo>
                  <a:pt x="34" y="70"/>
                </a:moveTo>
                <a:cubicBezTo>
                  <a:pt x="34" y="55"/>
                  <a:pt x="34" y="55"/>
                  <a:pt x="34" y="55"/>
                </a:cubicBezTo>
                <a:cubicBezTo>
                  <a:pt x="22" y="55"/>
                  <a:pt x="22" y="55"/>
                  <a:pt x="22" y="55"/>
                </a:cubicBezTo>
                <a:cubicBezTo>
                  <a:pt x="25" y="63"/>
                  <a:pt x="29" y="68"/>
                  <a:pt x="34" y="70"/>
                </a:cubicBezTo>
                <a:close/>
                <a:moveTo>
                  <a:pt x="20" y="35"/>
                </a:moveTo>
                <a:cubicBezTo>
                  <a:pt x="34" y="35"/>
                  <a:pt x="34" y="35"/>
                  <a:pt x="34" y="35"/>
                </a:cubicBezTo>
                <a:cubicBezTo>
                  <a:pt x="34" y="25"/>
                  <a:pt x="34" y="25"/>
                  <a:pt x="34" y="25"/>
                </a:cubicBezTo>
                <a:cubicBezTo>
                  <a:pt x="21" y="25"/>
                  <a:pt x="21" y="25"/>
                  <a:pt x="21" y="25"/>
                </a:cubicBezTo>
                <a:cubicBezTo>
                  <a:pt x="20" y="28"/>
                  <a:pt x="20" y="32"/>
                  <a:pt x="20" y="35"/>
                </a:cubicBezTo>
                <a:close/>
                <a:moveTo>
                  <a:pt x="64" y="20"/>
                </a:moveTo>
                <a:cubicBezTo>
                  <a:pt x="61" y="15"/>
                  <a:pt x="56" y="11"/>
                  <a:pt x="51" y="9"/>
                </a:cubicBezTo>
                <a:cubicBezTo>
                  <a:pt x="53" y="12"/>
                  <a:pt x="55" y="16"/>
                  <a:pt x="57" y="20"/>
                </a:cubicBezTo>
                <a:lnTo>
                  <a:pt x="64" y="20"/>
                </a:lnTo>
                <a:close/>
                <a:moveTo>
                  <a:pt x="22" y="20"/>
                </a:moveTo>
                <a:cubicBezTo>
                  <a:pt x="34" y="20"/>
                  <a:pt x="34" y="20"/>
                  <a:pt x="34" y="20"/>
                </a:cubicBezTo>
                <a:cubicBezTo>
                  <a:pt x="34" y="6"/>
                  <a:pt x="34" y="6"/>
                  <a:pt x="34" y="6"/>
                </a:cubicBezTo>
                <a:cubicBezTo>
                  <a:pt x="29" y="7"/>
                  <a:pt x="25" y="13"/>
                  <a:pt x="22" y="20"/>
                </a:cubicBezTo>
                <a:close/>
                <a:moveTo>
                  <a:pt x="10" y="55"/>
                </a:moveTo>
                <a:cubicBezTo>
                  <a:pt x="13" y="60"/>
                  <a:pt x="18" y="64"/>
                  <a:pt x="23" y="67"/>
                </a:cubicBezTo>
                <a:cubicBezTo>
                  <a:pt x="21" y="64"/>
                  <a:pt x="19" y="60"/>
                  <a:pt x="17" y="55"/>
                </a:cubicBezTo>
                <a:lnTo>
                  <a:pt x="10" y="55"/>
                </a:lnTo>
                <a:close/>
                <a:moveTo>
                  <a:pt x="16" y="25"/>
                </a:moveTo>
                <a:cubicBezTo>
                  <a:pt x="7" y="25"/>
                  <a:pt x="7" y="25"/>
                  <a:pt x="7" y="25"/>
                </a:cubicBezTo>
                <a:cubicBezTo>
                  <a:pt x="6" y="28"/>
                  <a:pt x="5" y="32"/>
                  <a:pt x="5" y="35"/>
                </a:cubicBezTo>
                <a:cubicBezTo>
                  <a:pt x="15" y="35"/>
                  <a:pt x="15" y="35"/>
                  <a:pt x="15" y="35"/>
                </a:cubicBezTo>
                <a:cubicBezTo>
                  <a:pt x="15" y="32"/>
                  <a:pt x="15" y="28"/>
                  <a:pt x="16" y="25"/>
                </a:cubicBezTo>
                <a:close/>
                <a:moveTo>
                  <a:pt x="15" y="40"/>
                </a:moveTo>
                <a:cubicBezTo>
                  <a:pt x="5" y="40"/>
                  <a:pt x="5" y="40"/>
                  <a:pt x="5" y="40"/>
                </a:cubicBezTo>
                <a:cubicBezTo>
                  <a:pt x="5" y="44"/>
                  <a:pt x="6" y="47"/>
                  <a:pt x="7" y="50"/>
                </a:cubicBezTo>
                <a:cubicBezTo>
                  <a:pt x="16" y="50"/>
                  <a:pt x="16" y="50"/>
                  <a:pt x="16" y="50"/>
                </a:cubicBezTo>
                <a:cubicBezTo>
                  <a:pt x="15" y="47"/>
                  <a:pt x="15" y="44"/>
                  <a:pt x="15" y="40"/>
                </a:cubicBezTo>
                <a:close/>
                <a:moveTo>
                  <a:pt x="23" y="9"/>
                </a:moveTo>
                <a:cubicBezTo>
                  <a:pt x="18" y="11"/>
                  <a:pt x="13" y="15"/>
                  <a:pt x="10" y="20"/>
                </a:cubicBezTo>
                <a:cubicBezTo>
                  <a:pt x="17" y="20"/>
                  <a:pt x="17" y="20"/>
                  <a:pt x="17" y="20"/>
                </a:cubicBezTo>
                <a:cubicBezTo>
                  <a:pt x="19" y="16"/>
                  <a:pt x="21" y="12"/>
                  <a:pt x="23" y="9"/>
                </a:cubicBezTo>
                <a:close/>
                <a:moveTo>
                  <a:pt x="58" y="25"/>
                </a:moveTo>
                <a:cubicBezTo>
                  <a:pt x="59" y="28"/>
                  <a:pt x="59" y="32"/>
                  <a:pt x="59" y="35"/>
                </a:cubicBezTo>
                <a:cubicBezTo>
                  <a:pt x="69" y="35"/>
                  <a:pt x="69" y="35"/>
                  <a:pt x="69" y="35"/>
                </a:cubicBezTo>
                <a:cubicBezTo>
                  <a:pt x="69" y="32"/>
                  <a:pt x="68" y="28"/>
                  <a:pt x="67" y="25"/>
                </a:cubicBezTo>
                <a:lnTo>
                  <a:pt x="58" y="25"/>
                </a:lnTo>
                <a:close/>
                <a:moveTo>
                  <a:pt x="51" y="67"/>
                </a:moveTo>
                <a:cubicBezTo>
                  <a:pt x="56" y="64"/>
                  <a:pt x="61" y="60"/>
                  <a:pt x="64" y="55"/>
                </a:cubicBezTo>
                <a:cubicBezTo>
                  <a:pt x="57" y="55"/>
                  <a:pt x="57" y="55"/>
                  <a:pt x="57" y="55"/>
                </a:cubicBezTo>
                <a:cubicBezTo>
                  <a:pt x="55" y="60"/>
                  <a:pt x="53" y="64"/>
                  <a:pt x="51" y="67"/>
                </a:cubicBezTo>
                <a:close/>
                <a:moveTo>
                  <a:pt x="58" y="50"/>
                </a:moveTo>
                <a:cubicBezTo>
                  <a:pt x="67" y="50"/>
                  <a:pt x="67" y="50"/>
                  <a:pt x="67" y="50"/>
                </a:cubicBezTo>
                <a:cubicBezTo>
                  <a:pt x="68" y="47"/>
                  <a:pt x="69" y="44"/>
                  <a:pt x="69" y="40"/>
                </a:cubicBezTo>
                <a:cubicBezTo>
                  <a:pt x="59" y="40"/>
                  <a:pt x="59" y="40"/>
                  <a:pt x="59" y="40"/>
                </a:cubicBezTo>
                <a:cubicBezTo>
                  <a:pt x="59" y="44"/>
                  <a:pt x="59" y="47"/>
                  <a:pt x="58" y="50"/>
                </a:cubicBezTo>
                <a:close/>
                <a:moveTo>
                  <a:pt x="39" y="6"/>
                </a:moveTo>
                <a:cubicBezTo>
                  <a:pt x="39" y="20"/>
                  <a:pt x="39" y="20"/>
                  <a:pt x="39" y="20"/>
                </a:cubicBezTo>
                <a:cubicBezTo>
                  <a:pt x="52" y="20"/>
                  <a:pt x="52" y="20"/>
                  <a:pt x="52" y="20"/>
                </a:cubicBezTo>
                <a:cubicBezTo>
                  <a:pt x="49" y="13"/>
                  <a:pt x="45" y="7"/>
                  <a:pt x="39" y="6"/>
                </a:cubicBezTo>
                <a:close/>
                <a:moveTo>
                  <a:pt x="53" y="25"/>
                </a:moveTo>
                <a:cubicBezTo>
                  <a:pt x="39" y="25"/>
                  <a:pt x="39" y="25"/>
                  <a:pt x="39" y="25"/>
                </a:cubicBezTo>
                <a:cubicBezTo>
                  <a:pt x="39" y="35"/>
                  <a:pt x="39" y="35"/>
                  <a:pt x="39" y="35"/>
                </a:cubicBezTo>
                <a:cubicBezTo>
                  <a:pt x="54" y="35"/>
                  <a:pt x="54" y="35"/>
                  <a:pt x="54" y="35"/>
                </a:cubicBezTo>
                <a:cubicBezTo>
                  <a:pt x="54" y="32"/>
                  <a:pt x="54" y="28"/>
                  <a:pt x="53" y="25"/>
                </a:cubicBezTo>
                <a:close/>
                <a:moveTo>
                  <a:pt x="54" y="40"/>
                </a:moveTo>
                <a:cubicBezTo>
                  <a:pt x="39" y="40"/>
                  <a:pt x="39" y="40"/>
                  <a:pt x="39" y="40"/>
                </a:cubicBezTo>
                <a:cubicBezTo>
                  <a:pt x="39" y="50"/>
                  <a:pt x="39" y="50"/>
                  <a:pt x="39" y="50"/>
                </a:cubicBezTo>
                <a:cubicBezTo>
                  <a:pt x="53" y="50"/>
                  <a:pt x="53" y="50"/>
                  <a:pt x="53" y="50"/>
                </a:cubicBezTo>
                <a:cubicBezTo>
                  <a:pt x="54" y="47"/>
                  <a:pt x="54" y="44"/>
                  <a:pt x="54" y="40"/>
                </a:cubicBezTo>
                <a:close/>
                <a:moveTo>
                  <a:pt x="39" y="55"/>
                </a:moveTo>
                <a:cubicBezTo>
                  <a:pt x="39" y="70"/>
                  <a:pt x="39" y="70"/>
                  <a:pt x="39" y="70"/>
                </a:cubicBezTo>
                <a:cubicBezTo>
                  <a:pt x="45" y="68"/>
                  <a:pt x="49" y="63"/>
                  <a:pt x="52" y="55"/>
                </a:cubicBezTo>
                <a:lnTo>
                  <a:pt x="39" y="5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7" name="Group 346">
            <a:extLst>
              <a:ext uri="{FF2B5EF4-FFF2-40B4-BE49-F238E27FC236}">
                <a16:creationId xmlns:a16="http://schemas.microsoft.com/office/drawing/2014/main" id="{1B528CDF-FA8B-3347-AA07-23F540CC358E}"/>
              </a:ext>
            </a:extLst>
          </p:cNvPr>
          <p:cNvGrpSpPr/>
          <p:nvPr/>
        </p:nvGrpSpPr>
        <p:grpSpPr>
          <a:xfrm>
            <a:off x="3400942" y="4865538"/>
            <a:ext cx="1507381" cy="1534135"/>
            <a:chOff x="4554537" y="344487"/>
            <a:chExt cx="663575" cy="663577"/>
          </a:xfrm>
        </p:grpSpPr>
        <p:sp>
          <p:nvSpPr>
            <p:cNvPr id="137" name="Oval 23">
              <a:extLst>
                <a:ext uri="{FF2B5EF4-FFF2-40B4-BE49-F238E27FC236}">
                  <a16:creationId xmlns:a16="http://schemas.microsoft.com/office/drawing/2014/main" id="{CF147C3C-253B-1943-9408-8ECC4F3630EC}"/>
                </a:ext>
              </a:extLst>
            </p:cNvPr>
            <p:cNvSpPr>
              <a:spLocks noChangeArrowheads="1"/>
            </p:cNvSpPr>
            <p:nvPr/>
          </p:nvSpPr>
          <p:spPr bwMode="auto">
            <a:xfrm>
              <a:off x="4554537" y="344487"/>
              <a:ext cx="663575" cy="663574"/>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38" name="Oval 24">
              <a:extLst>
                <a:ext uri="{FF2B5EF4-FFF2-40B4-BE49-F238E27FC236}">
                  <a16:creationId xmlns:a16="http://schemas.microsoft.com/office/drawing/2014/main" id="{8E1370F5-8A23-6044-BAC4-C096C6393361}"/>
                </a:ext>
              </a:extLst>
            </p:cNvPr>
            <p:cNvSpPr>
              <a:spLocks noChangeArrowheads="1"/>
            </p:cNvSpPr>
            <p:nvPr/>
          </p:nvSpPr>
          <p:spPr bwMode="auto">
            <a:xfrm>
              <a:off x="4751387" y="496887"/>
              <a:ext cx="268288" cy="273050"/>
            </a:xfrm>
            <a:prstGeom prst="ellipse">
              <a:avLst/>
            </a:prstGeom>
            <a:solidFill>
              <a:srgbClr val="10303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25">
              <a:extLst>
                <a:ext uri="{FF2B5EF4-FFF2-40B4-BE49-F238E27FC236}">
                  <a16:creationId xmlns:a16="http://schemas.microsoft.com/office/drawing/2014/main" id="{E7E13601-C059-E249-9AE2-5187064BA0D4}"/>
                </a:ext>
              </a:extLst>
            </p:cNvPr>
            <p:cNvSpPr>
              <a:spLocks/>
            </p:cNvSpPr>
            <p:nvPr/>
          </p:nvSpPr>
          <p:spPr bwMode="auto">
            <a:xfrm>
              <a:off x="4695825" y="815974"/>
              <a:ext cx="379413" cy="192088"/>
            </a:xfrm>
            <a:custGeom>
              <a:avLst/>
              <a:gdLst>
                <a:gd name="T0" fmla="*/ 6 w 75"/>
                <a:gd name="T1" fmla="*/ 13 h 38"/>
                <a:gd name="T2" fmla="*/ 38 w 75"/>
                <a:gd name="T3" fmla="*/ 0 h 38"/>
                <a:gd name="T4" fmla="*/ 69 w 75"/>
                <a:gd name="T5" fmla="*/ 13 h 38"/>
                <a:gd name="T6" fmla="*/ 75 w 75"/>
                <a:gd name="T7" fmla="*/ 38 h 38"/>
                <a:gd name="T8" fmla="*/ 38 w 75"/>
                <a:gd name="T9" fmla="*/ 38 h 38"/>
                <a:gd name="T10" fmla="*/ 0 w 75"/>
                <a:gd name="T11" fmla="*/ 38 h 38"/>
                <a:gd name="T12" fmla="*/ 6 w 75"/>
                <a:gd name="T13" fmla="*/ 13 h 38"/>
              </a:gdLst>
              <a:ahLst/>
              <a:cxnLst>
                <a:cxn ang="0">
                  <a:pos x="T0" y="T1"/>
                </a:cxn>
                <a:cxn ang="0">
                  <a:pos x="T2" y="T3"/>
                </a:cxn>
                <a:cxn ang="0">
                  <a:pos x="T4" y="T5"/>
                </a:cxn>
                <a:cxn ang="0">
                  <a:pos x="T6" y="T7"/>
                </a:cxn>
                <a:cxn ang="0">
                  <a:pos x="T8" y="T9"/>
                </a:cxn>
                <a:cxn ang="0">
                  <a:pos x="T10" y="T11"/>
                </a:cxn>
                <a:cxn ang="0">
                  <a:pos x="T12" y="T13"/>
                </a:cxn>
              </a:cxnLst>
              <a:rect l="0" t="0" r="r" b="b"/>
              <a:pathLst>
                <a:path w="75" h="38">
                  <a:moveTo>
                    <a:pt x="6" y="13"/>
                  </a:moveTo>
                  <a:cubicBezTo>
                    <a:pt x="10" y="5"/>
                    <a:pt x="38" y="0"/>
                    <a:pt x="38" y="0"/>
                  </a:cubicBezTo>
                  <a:cubicBezTo>
                    <a:pt x="38" y="0"/>
                    <a:pt x="65" y="5"/>
                    <a:pt x="69" y="13"/>
                  </a:cubicBezTo>
                  <a:cubicBezTo>
                    <a:pt x="72" y="24"/>
                    <a:pt x="75" y="38"/>
                    <a:pt x="75" y="38"/>
                  </a:cubicBezTo>
                  <a:cubicBezTo>
                    <a:pt x="38" y="38"/>
                    <a:pt x="38" y="38"/>
                    <a:pt x="38" y="38"/>
                  </a:cubicBezTo>
                  <a:cubicBezTo>
                    <a:pt x="0" y="38"/>
                    <a:pt x="0" y="38"/>
                    <a:pt x="0" y="38"/>
                  </a:cubicBezTo>
                  <a:cubicBezTo>
                    <a:pt x="0" y="38"/>
                    <a:pt x="2" y="23"/>
                    <a:pt x="6" y="13"/>
                  </a:cubicBezTo>
                </a:path>
              </a:pathLst>
            </a:custGeom>
            <a:solidFill>
              <a:srgbClr val="F1C9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26">
              <a:extLst>
                <a:ext uri="{FF2B5EF4-FFF2-40B4-BE49-F238E27FC236}">
                  <a16:creationId xmlns:a16="http://schemas.microsoft.com/office/drawing/2014/main" id="{B2529476-F93A-584B-B3D5-531733D6EBBD}"/>
                </a:ext>
              </a:extLst>
            </p:cNvPr>
            <p:cNvSpPr>
              <a:spLocks noChangeArrowheads="1"/>
            </p:cNvSpPr>
            <p:nvPr/>
          </p:nvSpPr>
          <p:spPr bwMode="auto">
            <a:xfrm>
              <a:off x="4848225" y="735012"/>
              <a:ext cx="76200" cy="120650"/>
            </a:xfrm>
            <a:prstGeom prst="rect">
              <a:avLst/>
            </a:prstGeom>
            <a:solidFill>
              <a:srgbClr val="F1C9A5"/>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Rectangle 27">
              <a:extLst>
                <a:ext uri="{FF2B5EF4-FFF2-40B4-BE49-F238E27FC236}">
                  <a16:creationId xmlns:a16="http://schemas.microsoft.com/office/drawing/2014/main" id="{B500B76C-B6B2-AC4F-8EA1-1850A065DEDA}"/>
                </a:ext>
              </a:extLst>
            </p:cNvPr>
            <p:cNvSpPr>
              <a:spLocks noChangeArrowheads="1"/>
            </p:cNvSpPr>
            <p:nvPr/>
          </p:nvSpPr>
          <p:spPr bwMode="auto">
            <a:xfrm>
              <a:off x="4848225" y="735012"/>
              <a:ext cx="76200" cy="1206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28">
              <a:extLst>
                <a:ext uri="{FF2B5EF4-FFF2-40B4-BE49-F238E27FC236}">
                  <a16:creationId xmlns:a16="http://schemas.microsoft.com/office/drawing/2014/main" id="{AA1560A8-4553-8A4C-BB5C-209CFC1BD4DB}"/>
                </a:ext>
              </a:extLst>
            </p:cNvPr>
            <p:cNvSpPr>
              <a:spLocks/>
            </p:cNvSpPr>
            <p:nvPr/>
          </p:nvSpPr>
          <p:spPr bwMode="auto">
            <a:xfrm>
              <a:off x="4848225" y="735012"/>
              <a:ext cx="76200" cy="85725"/>
            </a:xfrm>
            <a:custGeom>
              <a:avLst/>
              <a:gdLst>
                <a:gd name="T0" fmla="*/ 15 w 15"/>
                <a:gd name="T1" fmla="*/ 0 h 17"/>
                <a:gd name="T2" fmla="*/ 0 w 15"/>
                <a:gd name="T3" fmla="*/ 0 h 17"/>
                <a:gd name="T4" fmla="*/ 0 w 15"/>
                <a:gd name="T5" fmla="*/ 16 h 17"/>
                <a:gd name="T6" fmla="*/ 4 w 15"/>
                <a:gd name="T7" fmla="*/ 17 h 17"/>
                <a:gd name="T8" fmla="*/ 15 w 15"/>
                <a:gd name="T9" fmla="*/ 11 h 17"/>
                <a:gd name="T10" fmla="*/ 15 w 15"/>
                <a:gd name="T11" fmla="*/ 0 h 17"/>
              </a:gdLst>
              <a:ahLst/>
              <a:cxnLst>
                <a:cxn ang="0">
                  <a:pos x="T0" y="T1"/>
                </a:cxn>
                <a:cxn ang="0">
                  <a:pos x="T2" y="T3"/>
                </a:cxn>
                <a:cxn ang="0">
                  <a:pos x="T4" y="T5"/>
                </a:cxn>
                <a:cxn ang="0">
                  <a:pos x="T6" y="T7"/>
                </a:cxn>
                <a:cxn ang="0">
                  <a:pos x="T8" y="T9"/>
                </a:cxn>
                <a:cxn ang="0">
                  <a:pos x="T10" y="T11"/>
                </a:cxn>
              </a:cxnLst>
              <a:rect l="0" t="0" r="r" b="b"/>
              <a:pathLst>
                <a:path w="15" h="17">
                  <a:moveTo>
                    <a:pt x="15" y="0"/>
                  </a:moveTo>
                  <a:cubicBezTo>
                    <a:pt x="0" y="0"/>
                    <a:pt x="0" y="0"/>
                    <a:pt x="0" y="0"/>
                  </a:cubicBezTo>
                  <a:cubicBezTo>
                    <a:pt x="0" y="16"/>
                    <a:pt x="0" y="16"/>
                    <a:pt x="0" y="16"/>
                  </a:cubicBezTo>
                  <a:cubicBezTo>
                    <a:pt x="1" y="17"/>
                    <a:pt x="3" y="17"/>
                    <a:pt x="4" y="17"/>
                  </a:cubicBezTo>
                  <a:cubicBezTo>
                    <a:pt x="8" y="17"/>
                    <a:pt x="14" y="15"/>
                    <a:pt x="15" y="11"/>
                  </a:cubicBezTo>
                  <a:cubicBezTo>
                    <a:pt x="15" y="0"/>
                    <a:pt x="15" y="0"/>
                    <a:pt x="15" y="0"/>
                  </a:cubicBezTo>
                </a:path>
              </a:pathLst>
            </a:custGeom>
            <a:solidFill>
              <a:srgbClr val="EEC29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29">
              <a:extLst>
                <a:ext uri="{FF2B5EF4-FFF2-40B4-BE49-F238E27FC236}">
                  <a16:creationId xmlns:a16="http://schemas.microsoft.com/office/drawing/2014/main" id="{8B203967-1E0C-2A44-9621-CC1E9C448322}"/>
                </a:ext>
              </a:extLst>
            </p:cNvPr>
            <p:cNvSpPr>
              <a:spLocks noChangeArrowheads="1"/>
            </p:cNvSpPr>
            <p:nvPr/>
          </p:nvSpPr>
          <p:spPr bwMode="auto">
            <a:xfrm>
              <a:off x="4792662" y="531812"/>
              <a:ext cx="187325" cy="263525"/>
            </a:xfrm>
            <a:prstGeom prst="ellipse">
              <a:avLst/>
            </a:prstGeom>
            <a:solidFill>
              <a:srgbClr val="F1C9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30">
              <a:extLst>
                <a:ext uri="{FF2B5EF4-FFF2-40B4-BE49-F238E27FC236}">
                  <a16:creationId xmlns:a16="http://schemas.microsoft.com/office/drawing/2014/main" id="{537D451C-236A-6441-8D4D-5A8E5E7A3DCA}"/>
                </a:ext>
              </a:extLst>
            </p:cNvPr>
            <p:cNvSpPr>
              <a:spLocks/>
            </p:cNvSpPr>
            <p:nvPr/>
          </p:nvSpPr>
          <p:spPr bwMode="auto">
            <a:xfrm>
              <a:off x="4762500" y="628650"/>
              <a:ext cx="69850" cy="80963"/>
            </a:xfrm>
            <a:custGeom>
              <a:avLst/>
              <a:gdLst>
                <a:gd name="T0" fmla="*/ 0 w 14"/>
                <a:gd name="T1" fmla="*/ 9 h 16"/>
                <a:gd name="T2" fmla="*/ 6 w 14"/>
                <a:gd name="T3" fmla="*/ 1 h 16"/>
                <a:gd name="T4" fmla="*/ 13 w 14"/>
                <a:gd name="T5" fmla="*/ 8 h 16"/>
                <a:gd name="T6" fmla="*/ 8 w 14"/>
                <a:gd name="T7" fmla="*/ 16 h 16"/>
                <a:gd name="T8" fmla="*/ 0 w 14"/>
                <a:gd name="T9" fmla="*/ 9 h 16"/>
              </a:gdLst>
              <a:ahLst/>
              <a:cxnLst>
                <a:cxn ang="0">
                  <a:pos x="T0" y="T1"/>
                </a:cxn>
                <a:cxn ang="0">
                  <a:pos x="T2" y="T3"/>
                </a:cxn>
                <a:cxn ang="0">
                  <a:pos x="T4" y="T5"/>
                </a:cxn>
                <a:cxn ang="0">
                  <a:pos x="T6" y="T7"/>
                </a:cxn>
                <a:cxn ang="0">
                  <a:pos x="T8" y="T9"/>
                </a:cxn>
              </a:cxnLst>
              <a:rect l="0" t="0" r="r" b="b"/>
              <a:pathLst>
                <a:path w="14" h="16">
                  <a:moveTo>
                    <a:pt x="0" y="9"/>
                  </a:moveTo>
                  <a:cubicBezTo>
                    <a:pt x="0" y="5"/>
                    <a:pt x="2" y="1"/>
                    <a:pt x="6" y="1"/>
                  </a:cubicBezTo>
                  <a:cubicBezTo>
                    <a:pt x="9" y="0"/>
                    <a:pt x="12" y="4"/>
                    <a:pt x="13" y="8"/>
                  </a:cubicBezTo>
                  <a:cubicBezTo>
                    <a:pt x="14" y="12"/>
                    <a:pt x="11" y="15"/>
                    <a:pt x="8" y="16"/>
                  </a:cubicBezTo>
                  <a:cubicBezTo>
                    <a:pt x="4" y="16"/>
                    <a:pt x="1" y="13"/>
                    <a:pt x="0" y="9"/>
                  </a:cubicBezTo>
                  <a:close/>
                </a:path>
              </a:pathLst>
            </a:custGeom>
            <a:solidFill>
              <a:srgbClr val="F1C9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31">
              <a:extLst>
                <a:ext uri="{FF2B5EF4-FFF2-40B4-BE49-F238E27FC236}">
                  <a16:creationId xmlns:a16="http://schemas.microsoft.com/office/drawing/2014/main" id="{73B75B2D-D47D-4243-90F6-38265A4E3476}"/>
                </a:ext>
              </a:extLst>
            </p:cNvPr>
            <p:cNvSpPr>
              <a:spLocks/>
            </p:cNvSpPr>
            <p:nvPr/>
          </p:nvSpPr>
          <p:spPr bwMode="auto">
            <a:xfrm>
              <a:off x="4938712" y="628650"/>
              <a:ext cx="71438" cy="80963"/>
            </a:xfrm>
            <a:custGeom>
              <a:avLst/>
              <a:gdLst>
                <a:gd name="T0" fmla="*/ 6 w 14"/>
                <a:gd name="T1" fmla="*/ 16 h 16"/>
                <a:gd name="T2" fmla="*/ 1 w 14"/>
                <a:gd name="T3" fmla="*/ 8 h 16"/>
                <a:gd name="T4" fmla="*/ 8 w 14"/>
                <a:gd name="T5" fmla="*/ 1 h 16"/>
                <a:gd name="T6" fmla="*/ 13 w 14"/>
                <a:gd name="T7" fmla="*/ 9 h 16"/>
                <a:gd name="T8" fmla="*/ 6 w 14"/>
                <a:gd name="T9" fmla="*/ 16 h 16"/>
              </a:gdLst>
              <a:ahLst/>
              <a:cxnLst>
                <a:cxn ang="0">
                  <a:pos x="T0" y="T1"/>
                </a:cxn>
                <a:cxn ang="0">
                  <a:pos x="T2" y="T3"/>
                </a:cxn>
                <a:cxn ang="0">
                  <a:pos x="T4" y="T5"/>
                </a:cxn>
                <a:cxn ang="0">
                  <a:pos x="T6" y="T7"/>
                </a:cxn>
                <a:cxn ang="0">
                  <a:pos x="T8" y="T9"/>
                </a:cxn>
              </a:cxnLst>
              <a:rect l="0" t="0" r="r" b="b"/>
              <a:pathLst>
                <a:path w="14" h="16">
                  <a:moveTo>
                    <a:pt x="6" y="16"/>
                  </a:moveTo>
                  <a:cubicBezTo>
                    <a:pt x="3" y="15"/>
                    <a:pt x="0" y="12"/>
                    <a:pt x="1" y="8"/>
                  </a:cubicBezTo>
                  <a:cubicBezTo>
                    <a:pt x="1" y="4"/>
                    <a:pt x="5" y="0"/>
                    <a:pt x="8" y="1"/>
                  </a:cubicBezTo>
                  <a:cubicBezTo>
                    <a:pt x="12" y="1"/>
                    <a:pt x="14" y="5"/>
                    <a:pt x="13" y="9"/>
                  </a:cubicBezTo>
                  <a:cubicBezTo>
                    <a:pt x="13" y="13"/>
                    <a:pt x="10" y="16"/>
                    <a:pt x="6" y="16"/>
                  </a:cubicBezTo>
                  <a:close/>
                </a:path>
              </a:pathLst>
            </a:custGeom>
            <a:solidFill>
              <a:srgbClr val="F1C9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32">
              <a:extLst>
                <a:ext uri="{FF2B5EF4-FFF2-40B4-BE49-F238E27FC236}">
                  <a16:creationId xmlns:a16="http://schemas.microsoft.com/office/drawing/2014/main" id="{35C3F4D7-0E12-EE42-90D6-F226770A0DED}"/>
                </a:ext>
              </a:extLst>
            </p:cNvPr>
            <p:cNvSpPr>
              <a:spLocks/>
            </p:cNvSpPr>
            <p:nvPr/>
          </p:nvSpPr>
          <p:spPr bwMode="auto">
            <a:xfrm>
              <a:off x="4781550" y="506412"/>
              <a:ext cx="207963" cy="126999"/>
            </a:xfrm>
            <a:custGeom>
              <a:avLst/>
              <a:gdLst>
                <a:gd name="T0" fmla="*/ 19 w 41"/>
                <a:gd name="T1" fmla="*/ 0 h 25"/>
                <a:gd name="T2" fmla="*/ 41 w 41"/>
                <a:gd name="T3" fmla="*/ 25 h 25"/>
                <a:gd name="T4" fmla="*/ 41 w 41"/>
                <a:gd name="T5" fmla="*/ 25 h 25"/>
                <a:gd name="T6" fmla="*/ 30 w 41"/>
                <a:gd name="T7" fmla="*/ 25 h 25"/>
                <a:gd name="T8" fmla="*/ 29 w 41"/>
                <a:gd name="T9" fmla="*/ 17 h 25"/>
                <a:gd name="T10" fmla="*/ 29 w 41"/>
                <a:gd name="T11" fmla="*/ 25 h 25"/>
                <a:gd name="T12" fmla="*/ 18 w 41"/>
                <a:gd name="T13" fmla="*/ 25 h 25"/>
                <a:gd name="T14" fmla="*/ 18 w 41"/>
                <a:gd name="T15" fmla="*/ 17 h 25"/>
                <a:gd name="T16" fmla="*/ 17 w 41"/>
                <a:gd name="T17" fmla="*/ 25 h 25"/>
                <a:gd name="T18" fmla="*/ 10 w 41"/>
                <a:gd name="T19" fmla="*/ 25 h 25"/>
                <a:gd name="T20" fmla="*/ 10 w 41"/>
                <a:gd name="T21" fmla="*/ 18 h 25"/>
                <a:gd name="T22" fmla="*/ 8 w 41"/>
                <a:gd name="T23" fmla="*/ 25 h 25"/>
                <a:gd name="T24" fmla="*/ 0 w 41"/>
                <a:gd name="T25" fmla="*/ 25 h 25"/>
                <a:gd name="T26" fmla="*/ 0 w 41"/>
                <a:gd name="T27" fmla="*/ 25 h 25"/>
                <a:gd name="T28" fmla="*/ 19 w 41"/>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 h="25">
                  <a:moveTo>
                    <a:pt x="19" y="0"/>
                  </a:moveTo>
                  <a:cubicBezTo>
                    <a:pt x="31" y="0"/>
                    <a:pt x="41" y="13"/>
                    <a:pt x="41" y="25"/>
                  </a:cubicBezTo>
                  <a:cubicBezTo>
                    <a:pt x="41" y="25"/>
                    <a:pt x="41" y="25"/>
                    <a:pt x="41" y="25"/>
                  </a:cubicBezTo>
                  <a:cubicBezTo>
                    <a:pt x="30" y="25"/>
                    <a:pt x="30" y="25"/>
                    <a:pt x="30" y="25"/>
                  </a:cubicBezTo>
                  <a:cubicBezTo>
                    <a:pt x="29" y="17"/>
                    <a:pt x="29" y="17"/>
                    <a:pt x="29" y="17"/>
                  </a:cubicBezTo>
                  <a:cubicBezTo>
                    <a:pt x="29" y="25"/>
                    <a:pt x="29" y="25"/>
                    <a:pt x="29" y="25"/>
                  </a:cubicBezTo>
                  <a:cubicBezTo>
                    <a:pt x="18" y="25"/>
                    <a:pt x="18" y="25"/>
                    <a:pt x="18" y="25"/>
                  </a:cubicBezTo>
                  <a:cubicBezTo>
                    <a:pt x="18" y="17"/>
                    <a:pt x="18" y="17"/>
                    <a:pt x="18" y="17"/>
                  </a:cubicBezTo>
                  <a:cubicBezTo>
                    <a:pt x="17" y="25"/>
                    <a:pt x="17" y="25"/>
                    <a:pt x="17" y="25"/>
                  </a:cubicBezTo>
                  <a:cubicBezTo>
                    <a:pt x="10" y="25"/>
                    <a:pt x="10" y="25"/>
                    <a:pt x="10" y="25"/>
                  </a:cubicBezTo>
                  <a:cubicBezTo>
                    <a:pt x="10" y="18"/>
                    <a:pt x="10" y="18"/>
                    <a:pt x="10" y="18"/>
                  </a:cubicBezTo>
                  <a:cubicBezTo>
                    <a:pt x="8" y="25"/>
                    <a:pt x="8" y="25"/>
                    <a:pt x="8" y="25"/>
                  </a:cubicBezTo>
                  <a:cubicBezTo>
                    <a:pt x="0" y="25"/>
                    <a:pt x="0" y="25"/>
                    <a:pt x="0" y="25"/>
                  </a:cubicBezTo>
                  <a:cubicBezTo>
                    <a:pt x="0" y="25"/>
                    <a:pt x="0" y="25"/>
                    <a:pt x="0" y="25"/>
                  </a:cubicBezTo>
                  <a:cubicBezTo>
                    <a:pt x="0" y="13"/>
                    <a:pt x="8" y="0"/>
                    <a:pt x="19" y="0"/>
                  </a:cubicBezTo>
                  <a:close/>
                </a:path>
              </a:pathLst>
            </a:custGeom>
            <a:solidFill>
              <a:srgbClr val="10303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33">
              <a:extLst>
                <a:ext uri="{FF2B5EF4-FFF2-40B4-BE49-F238E27FC236}">
                  <a16:creationId xmlns:a16="http://schemas.microsoft.com/office/drawing/2014/main" id="{EB192DDD-F6F4-954E-A730-EADAA8F1C5F1}"/>
                </a:ext>
              </a:extLst>
            </p:cNvPr>
            <p:cNvSpPr>
              <a:spLocks/>
            </p:cNvSpPr>
            <p:nvPr/>
          </p:nvSpPr>
          <p:spPr bwMode="auto">
            <a:xfrm>
              <a:off x="4625976" y="436562"/>
              <a:ext cx="196850" cy="328612"/>
            </a:xfrm>
            <a:custGeom>
              <a:avLst/>
              <a:gdLst>
                <a:gd name="T0" fmla="*/ 39 w 39"/>
                <a:gd name="T1" fmla="*/ 22 h 65"/>
                <a:gd name="T2" fmla="*/ 14 w 39"/>
                <a:gd name="T3" fmla="*/ 12 h 65"/>
                <a:gd name="T4" fmla="*/ 3 w 39"/>
                <a:gd name="T5" fmla="*/ 57 h 65"/>
                <a:gd name="T6" fmla="*/ 22 w 39"/>
                <a:gd name="T7" fmla="*/ 42 h 65"/>
                <a:gd name="T8" fmla="*/ 31 w 39"/>
                <a:gd name="T9" fmla="*/ 31 h 65"/>
              </a:gdLst>
              <a:ahLst/>
              <a:cxnLst>
                <a:cxn ang="0">
                  <a:pos x="T0" y="T1"/>
                </a:cxn>
                <a:cxn ang="0">
                  <a:pos x="T2" y="T3"/>
                </a:cxn>
                <a:cxn ang="0">
                  <a:pos x="T4" y="T5"/>
                </a:cxn>
                <a:cxn ang="0">
                  <a:pos x="T6" y="T7"/>
                </a:cxn>
                <a:cxn ang="0">
                  <a:pos x="T8" y="T9"/>
                </a:cxn>
              </a:cxnLst>
              <a:rect l="0" t="0" r="r" b="b"/>
              <a:pathLst>
                <a:path w="39" h="65">
                  <a:moveTo>
                    <a:pt x="39" y="22"/>
                  </a:moveTo>
                  <a:cubicBezTo>
                    <a:pt x="39" y="22"/>
                    <a:pt x="29" y="0"/>
                    <a:pt x="14" y="12"/>
                  </a:cubicBezTo>
                  <a:cubicBezTo>
                    <a:pt x="0" y="24"/>
                    <a:pt x="24" y="59"/>
                    <a:pt x="3" y="57"/>
                  </a:cubicBezTo>
                  <a:cubicBezTo>
                    <a:pt x="10" y="65"/>
                    <a:pt x="21" y="61"/>
                    <a:pt x="22" y="42"/>
                  </a:cubicBezTo>
                  <a:cubicBezTo>
                    <a:pt x="23" y="24"/>
                    <a:pt x="31" y="31"/>
                    <a:pt x="31" y="31"/>
                  </a:cubicBezTo>
                </a:path>
              </a:pathLst>
            </a:custGeom>
            <a:solidFill>
              <a:srgbClr val="10303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34">
              <a:extLst>
                <a:ext uri="{FF2B5EF4-FFF2-40B4-BE49-F238E27FC236}">
                  <a16:creationId xmlns:a16="http://schemas.microsoft.com/office/drawing/2014/main" id="{DDA53E2D-BF19-084D-940B-38B7230F52DF}"/>
                </a:ext>
              </a:extLst>
            </p:cNvPr>
            <p:cNvSpPr>
              <a:spLocks/>
            </p:cNvSpPr>
            <p:nvPr/>
          </p:nvSpPr>
          <p:spPr bwMode="auto">
            <a:xfrm>
              <a:off x="4949824" y="436562"/>
              <a:ext cx="196850" cy="328612"/>
            </a:xfrm>
            <a:custGeom>
              <a:avLst/>
              <a:gdLst>
                <a:gd name="T0" fmla="*/ 0 w 39"/>
                <a:gd name="T1" fmla="*/ 22 h 65"/>
                <a:gd name="T2" fmla="*/ 25 w 39"/>
                <a:gd name="T3" fmla="*/ 12 h 65"/>
                <a:gd name="T4" fmla="*/ 37 w 39"/>
                <a:gd name="T5" fmla="*/ 56 h 65"/>
                <a:gd name="T6" fmla="*/ 17 w 39"/>
                <a:gd name="T7" fmla="*/ 42 h 65"/>
                <a:gd name="T8" fmla="*/ 8 w 39"/>
                <a:gd name="T9" fmla="*/ 31 h 65"/>
              </a:gdLst>
              <a:ahLst/>
              <a:cxnLst>
                <a:cxn ang="0">
                  <a:pos x="T0" y="T1"/>
                </a:cxn>
                <a:cxn ang="0">
                  <a:pos x="T2" y="T3"/>
                </a:cxn>
                <a:cxn ang="0">
                  <a:pos x="T4" y="T5"/>
                </a:cxn>
                <a:cxn ang="0">
                  <a:pos x="T6" y="T7"/>
                </a:cxn>
                <a:cxn ang="0">
                  <a:pos x="T8" y="T9"/>
                </a:cxn>
              </a:cxnLst>
              <a:rect l="0" t="0" r="r" b="b"/>
              <a:pathLst>
                <a:path w="39" h="65">
                  <a:moveTo>
                    <a:pt x="0" y="22"/>
                  </a:moveTo>
                  <a:cubicBezTo>
                    <a:pt x="0" y="22"/>
                    <a:pt x="10" y="0"/>
                    <a:pt x="25" y="12"/>
                  </a:cubicBezTo>
                  <a:cubicBezTo>
                    <a:pt x="39" y="24"/>
                    <a:pt x="15" y="59"/>
                    <a:pt x="37" y="56"/>
                  </a:cubicBezTo>
                  <a:cubicBezTo>
                    <a:pt x="29" y="65"/>
                    <a:pt x="18" y="61"/>
                    <a:pt x="17" y="42"/>
                  </a:cubicBezTo>
                  <a:cubicBezTo>
                    <a:pt x="16" y="24"/>
                    <a:pt x="8" y="31"/>
                    <a:pt x="8" y="31"/>
                  </a:cubicBezTo>
                </a:path>
              </a:pathLst>
            </a:custGeom>
            <a:solidFill>
              <a:srgbClr val="10303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35">
              <a:extLst>
                <a:ext uri="{FF2B5EF4-FFF2-40B4-BE49-F238E27FC236}">
                  <a16:creationId xmlns:a16="http://schemas.microsoft.com/office/drawing/2014/main" id="{F162C36A-165C-4D47-ADE0-50CC3B499E8A}"/>
                </a:ext>
              </a:extLst>
            </p:cNvPr>
            <p:cNvSpPr>
              <a:spLocks/>
            </p:cNvSpPr>
            <p:nvPr/>
          </p:nvSpPr>
          <p:spPr bwMode="auto">
            <a:xfrm>
              <a:off x="4787898" y="522287"/>
              <a:ext cx="201612" cy="96838"/>
            </a:xfrm>
            <a:custGeom>
              <a:avLst/>
              <a:gdLst>
                <a:gd name="T0" fmla="*/ 20 w 40"/>
                <a:gd name="T1" fmla="*/ 6 h 19"/>
                <a:gd name="T2" fmla="*/ 1 w 40"/>
                <a:gd name="T3" fmla="*/ 19 h 19"/>
                <a:gd name="T4" fmla="*/ 0 w 40"/>
                <a:gd name="T5" fmla="*/ 16 h 19"/>
                <a:gd name="T6" fmla="*/ 20 w 40"/>
                <a:gd name="T7" fmla="*/ 0 h 19"/>
                <a:gd name="T8" fmla="*/ 40 w 40"/>
                <a:gd name="T9" fmla="*/ 16 h 19"/>
                <a:gd name="T10" fmla="*/ 40 w 40"/>
                <a:gd name="T11" fmla="*/ 19 h 19"/>
                <a:gd name="T12" fmla="*/ 20 w 40"/>
                <a:gd name="T13" fmla="*/ 6 h 19"/>
              </a:gdLst>
              <a:ahLst/>
              <a:cxnLst>
                <a:cxn ang="0">
                  <a:pos x="T0" y="T1"/>
                </a:cxn>
                <a:cxn ang="0">
                  <a:pos x="T2" y="T3"/>
                </a:cxn>
                <a:cxn ang="0">
                  <a:pos x="T4" y="T5"/>
                </a:cxn>
                <a:cxn ang="0">
                  <a:pos x="T6" y="T7"/>
                </a:cxn>
                <a:cxn ang="0">
                  <a:pos x="T8" y="T9"/>
                </a:cxn>
                <a:cxn ang="0">
                  <a:pos x="T10" y="T11"/>
                </a:cxn>
                <a:cxn ang="0">
                  <a:pos x="T12" y="T13"/>
                </a:cxn>
              </a:cxnLst>
              <a:rect l="0" t="0" r="r" b="b"/>
              <a:pathLst>
                <a:path w="40" h="19">
                  <a:moveTo>
                    <a:pt x="20" y="6"/>
                  </a:moveTo>
                  <a:cubicBezTo>
                    <a:pt x="10" y="6"/>
                    <a:pt x="2" y="11"/>
                    <a:pt x="1" y="19"/>
                  </a:cubicBezTo>
                  <a:cubicBezTo>
                    <a:pt x="0" y="18"/>
                    <a:pt x="0" y="17"/>
                    <a:pt x="0" y="16"/>
                  </a:cubicBezTo>
                  <a:cubicBezTo>
                    <a:pt x="0" y="7"/>
                    <a:pt x="9" y="0"/>
                    <a:pt x="20" y="0"/>
                  </a:cubicBezTo>
                  <a:cubicBezTo>
                    <a:pt x="31" y="0"/>
                    <a:pt x="40" y="7"/>
                    <a:pt x="40" y="16"/>
                  </a:cubicBezTo>
                  <a:cubicBezTo>
                    <a:pt x="40" y="17"/>
                    <a:pt x="40" y="18"/>
                    <a:pt x="40" y="19"/>
                  </a:cubicBezTo>
                  <a:cubicBezTo>
                    <a:pt x="38" y="11"/>
                    <a:pt x="30" y="6"/>
                    <a:pt x="20" y="6"/>
                  </a:cubicBezTo>
                  <a:close/>
                </a:path>
              </a:pathLst>
            </a:custGeom>
            <a:solidFill>
              <a:srgbClr val="FAE43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36">
              <a:extLst>
                <a:ext uri="{FF2B5EF4-FFF2-40B4-BE49-F238E27FC236}">
                  <a16:creationId xmlns:a16="http://schemas.microsoft.com/office/drawing/2014/main" id="{D2F8BD45-6FEE-7D46-A0FD-F5AD1EF1AB7F}"/>
                </a:ext>
              </a:extLst>
            </p:cNvPr>
            <p:cNvSpPr>
              <a:spLocks/>
            </p:cNvSpPr>
            <p:nvPr/>
          </p:nvSpPr>
          <p:spPr bwMode="auto">
            <a:xfrm>
              <a:off x="4695826" y="850901"/>
              <a:ext cx="379413" cy="157163"/>
            </a:xfrm>
            <a:custGeom>
              <a:avLst/>
              <a:gdLst>
                <a:gd name="T0" fmla="*/ 6 w 75"/>
                <a:gd name="T1" fmla="*/ 6 h 31"/>
                <a:gd name="T2" fmla="*/ 13 w 75"/>
                <a:gd name="T3" fmla="*/ 0 h 31"/>
                <a:gd name="T4" fmla="*/ 38 w 75"/>
                <a:gd name="T5" fmla="*/ 2 h 31"/>
                <a:gd name="T6" fmla="*/ 62 w 75"/>
                <a:gd name="T7" fmla="*/ 0 h 31"/>
                <a:gd name="T8" fmla="*/ 69 w 75"/>
                <a:gd name="T9" fmla="*/ 6 h 31"/>
                <a:gd name="T10" fmla="*/ 75 w 75"/>
                <a:gd name="T11" fmla="*/ 31 h 31"/>
                <a:gd name="T12" fmla="*/ 38 w 75"/>
                <a:gd name="T13" fmla="*/ 31 h 31"/>
                <a:gd name="T14" fmla="*/ 0 w 75"/>
                <a:gd name="T15" fmla="*/ 31 h 31"/>
                <a:gd name="T16" fmla="*/ 6 w 75"/>
                <a:gd name="T17"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31">
                  <a:moveTo>
                    <a:pt x="6" y="6"/>
                  </a:moveTo>
                  <a:cubicBezTo>
                    <a:pt x="7" y="4"/>
                    <a:pt x="10" y="2"/>
                    <a:pt x="13" y="0"/>
                  </a:cubicBezTo>
                  <a:cubicBezTo>
                    <a:pt x="19" y="1"/>
                    <a:pt x="28" y="2"/>
                    <a:pt x="38" y="2"/>
                  </a:cubicBezTo>
                  <a:cubicBezTo>
                    <a:pt x="47" y="2"/>
                    <a:pt x="56" y="1"/>
                    <a:pt x="62" y="0"/>
                  </a:cubicBezTo>
                  <a:cubicBezTo>
                    <a:pt x="65" y="2"/>
                    <a:pt x="68" y="4"/>
                    <a:pt x="69" y="6"/>
                  </a:cubicBezTo>
                  <a:cubicBezTo>
                    <a:pt x="72" y="17"/>
                    <a:pt x="75" y="31"/>
                    <a:pt x="75" y="31"/>
                  </a:cubicBezTo>
                  <a:cubicBezTo>
                    <a:pt x="38" y="31"/>
                    <a:pt x="38" y="31"/>
                    <a:pt x="38" y="31"/>
                  </a:cubicBezTo>
                  <a:cubicBezTo>
                    <a:pt x="0" y="31"/>
                    <a:pt x="0" y="31"/>
                    <a:pt x="0" y="31"/>
                  </a:cubicBezTo>
                  <a:cubicBezTo>
                    <a:pt x="0" y="31"/>
                    <a:pt x="2" y="16"/>
                    <a:pt x="6" y="6"/>
                  </a:cubicBezTo>
                  <a:close/>
                </a:path>
              </a:pathLst>
            </a:custGeom>
            <a:solidFill>
              <a:srgbClr val="B3B10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1" name="Group 347">
            <a:extLst>
              <a:ext uri="{FF2B5EF4-FFF2-40B4-BE49-F238E27FC236}">
                <a16:creationId xmlns:a16="http://schemas.microsoft.com/office/drawing/2014/main" id="{EBFBBBC0-2AA5-574A-9AA7-AD4D2C7DF017}"/>
              </a:ext>
            </a:extLst>
          </p:cNvPr>
          <p:cNvGrpSpPr/>
          <p:nvPr/>
        </p:nvGrpSpPr>
        <p:grpSpPr>
          <a:xfrm>
            <a:off x="898281" y="4867191"/>
            <a:ext cx="1507381" cy="1534135"/>
            <a:chOff x="3729038" y="415926"/>
            <a:chExt cx="663575" cy="663575"/>
          </a:xfrm>
        </p:grpSpPr>
        <p:sp>
          <p:nvSpPr>
            <p:cNvPr id="152" name="Oval 37">
              <a:extLst>
                <a:ext uri="{FF2B5EF4-FFF2-40B4-BE49-F238E27FC236}">
                  <a16:creationId xmlns:a16="http://schemas.microsoft.com/office/drawing/2014/main" id="{9E099EB5-8602-B049-A23F-8526ADE66AD9}"/>
                </a:ext>
              </a:extLst>
            </p:cNvPr>
            <p:cNvSpPr>
              <a:spLocks noChangeArrowheads="1"/>
            </p:cNvSpPr>
            <p:nvPr/>
          </p:nvSpPr>
          <p:spPr bwMode="auto">
            <a:xfrm>
              <a:off x="3729038" y="415926"/>
              <a:ext cx="663575" cy="663575"/>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53" name="Freeform 38">
              <a:extLst>
                <a:ext uri="{FF2B5EF4-FFF2-40B4-BE49-F238E27FC236}">
                  <a16:creationId xmlns:a16="http://schemas.microsoft.com/office/drawing/2014/main" id="{51669271-A7E5-4046-8D18-CD349D6FADC5}"/>
                </a:ext>
              </a:extLst>
            </p:cNvPr>
            <p:cNvSpPr>
              <a:spLocks/>
            </p:cNvSpPr>
            <p:nvPr/>
          </p:nvSpPr>
          <p:spPr bwMode="auto">
            <a:xfrm>
              <a:off x="3876676" y="887413"/>
              <a:ext cx="374650" cy="192088"/>
            </a:xfrm>
            <a:custGeom>
              <a:avLst/>
              <a:gdLst>
                <a:gd name="T0" fmla="*/ 5 w 74"/>
                <a:gd name="T1" fmla="*/ 13 h 38"/>
                <a:gd name="T2" fmla="*/ 37 w 74"/>
                <a:gd name="T3" fmla="*/ 0 h 38"/>
                <a:gd name="T4" fmla="*/ 68 w 74"/>
                <a:gd name="T5" fmla="*/ 13 h 38"/>
                <a:gd name="T6" fmla="*/ 74 w 74"/>
                <a:gd name="T7" fmla="*/ 38 h 38"/>
                <a:gd name="T8" fmla="*/ 37 w 74"/>
                <a:gd name="T9" fmla="*/ 38 h 38"/>
                <a:gd name="T10" fmla="*/ 0 w 74"/>
                <a:gd name="T11" fmla="*/ 38 h 38"/>
                <a:gd name="T12" fmla="*/ 5 w 74"/>
                <a:gd name="T13" fmla="*/ 13 h 38"/>
              </a:gdLst>
              <a:ahLst/>
              <a:cxnLst>
                <a:cxn ang="0">
                  <a:pos x="T0" y="T1"/>
                </a:cxn>
                <a:cxn ang="0">
                  <a:pos x="T2" y="T3"/>
                </a:cxn>
                <a:cxn ang="0">
                  <a:pos x="T4" y="T5"/>
                </a:cxn>
                <a:cxn ang="0">
                  <a:pos x="T6" y="T7"/>
                </a:cxn>
                <a:cxn ang="0">
                  <a:pos x="T8" y="T9"/>
                </a:cxn>
                <a:cxn ang="0">
                  <a:pos x="T10" y="T11"/>
                </a:cxn>
                <a:cxn ang="0">
                  <a:pos x="T12" y="T13"/>
                </a:cxn>
              </a:cxnLst>
              <a:rect l="0" t="0" r="r" b="b"/>
              <a:pathLst>
                <a:path w="74" h="38">
                  <a:moveTo>
                    <a:pt x="5" y="13"/>
                  </a:moveTo>
                  <a:cubicBezTo>
                    <a:pt x="10" y="5"/>
                    <a:pt x="37" y="0"/>
                    <a:pt x="37" y="0"/>
                  </a:cubicBezTo>
                  <a:cubicBezTo>
                    <a:pt x="37" y="0"/>
                    <a:pt x="64" y="5"/>
                    <a:pt x="68" y="13"/>
                  </a:cubicBezTo>
                  <a:cubicBezTo>
                    <a:pt x="71" y="24"/>
                    <a:pt x="74" y="38"/>
                    <a:pt x="74" y="38"/>
                  </a:cubicBezTo>
                  <a:cubicBezTo>
                    <a:pt x="37" y="38"/>
                    <a:pt x="37" y="38"/>
                    <a:pt x="37" y="38"/>
                  </a:cubicBezTo>
                  <a:cubicBezTo>
                    <a:pt x="0" y="38"/>
                    <a:pt x="0" y="38"/>
                    <a:pt x="0" y="38"/>
                  </a:cubicBezTo>
                  <a:cubicBezTo>
                    <a:pt x="0" y="38"/>
                    <a:pt x="2" y="23"/>
                    <a:pt x="5" y="13"/>
                  </a:cubicBezTo>
                </a:path>
              </a:pathLst>
            </a:custGeom>
            <a:solidFill>
              <a:srgbClr val="F1C9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Rectangle 39">
              <a:extLst>
                <a:ext uri="{FF2B5EF4-FFF2-40B4-BE49-F238E27FC236}">
                  <a16:creationId xmlns:a16="http://schemas.microsoft.com/office/drawing/2014/main" id="{465ED0D6-31F7-234F-9E19-46D24BA9B4EC}"/>
                </a:ext>
              </a:extLst>
            </p:cNvPr>
            <p:cNvSpPr>
              <a:spLocks noChangeArrowheads="1"/>
            </p:cNvSpPr>
            <p:nvPr/>
          </p:nvSpPr>
          <p:spPr bwMode="auto">
            <a:xfrm>
              <a:off x="4022726" y="806451"/>
              <a:ext cx="76200" cy="120650"/>
            </a:xfrm>
            <a:prstGeom prst="rect">
              <a:avLst/>
            </a:prstGeom>
            <a:solidFill>
              <a:srgbClr val="F1C9A5"/>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Rectangle 40">
              <a:extLst>
                <a:ext uri="{FF2B5EF4-FFF2-40B4-BE49-F238E27FC236}">
                  <a16:creationId xmlns:a16="http://schemas.microsoft.com/office/drawing/2014/main" id="{EB07B207-6C00-4E4F-A988-C8A2A223C74C}"/>
                </a:ext>
              </a:extLst>
            </p:cNvPr>
            <p:cNvSpPr>
              <a:spLocks noChangeArrowheads="1"/>
            </p:cNvSpPr>
            <p:nvPr/>
          </p:nvSpPr>
          <p:spPr bwMode="auto">
            <a:xfrm>
              <a:off x="4022726" y="806451"/>
              <a:ext cx="76200" cy="1206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41">
              <a:extLst>
                <a:ext uri="{FF2B5EF4-FFF2-40B4-BE49-F238E27FC236}">
                  <a16:creationId xmlns:a16="http://schemas.microsoft.com/office/drawing/2014/main" id="{2CB00E8F-F0FF-6C40-BE3F-BC1D6D42FD66}"/>
                </a:ext>
              </a:extLst>
            </p:cNvPr>
            <p:cNvSpPr>
              <a:spLocks/>
            </p:cNvSpPr>
            <p:nvPr/>
          </p:nvSpPr>
          <p:spPr bwMode="auto">
            <a:xfrm>
              <a:off x="4022726" y="806451"/>
              <a:ext cx="76200" cy="85725"/>
            </a:xfrm>
            <a:custGeom>
              <a:avLst/>
              <a:gdLst>
                <a:gd name="T0" fmla="*/ 15 w 15"/>
                <a:gd name="T1" fmla="*/ 0 h 17"/>
                <a:gd name="T2" fmla="*/ 0 w 15"/>
                <a:gd name="T3" fmla="*/ 0 h 17"/>
                <a:gd name="T4" fmla="*/ 0 w 15"/>
                <a:gd name="T5" fmla="*/ 16 h 17"/>
                <a:gd name="T6" fmla="*/ 5 w 15"/>
                <a:gd name="T7" fmla="*/ 17 h 17"/>
                <a:gd name="T8" fmla="*/ 15 w 15"/>
                <a:gd name="T9" fmla="*/ 11 h 17"/>
                <a:gd name="T10" fmla="*/ 15 w 15"/>
                <a:gd name="T11" fmla="*/ 0 h 17"/>
              </a:gdLst>
              <a:ahLst/>
              <a:cxnLst>
                <a:cxn ang="0">
                  <a:pos x="T0" y="T1"/>
                </a:cxn>
                <a:cxn ang="0">
                  <a:pos x="T2" y="T3"/>
                </a:cxn>
                <a:cxn ang="0">
                  <a:pos x="T4" y="T5"/>
                </a:cxn>
                <a:cxn ang="0">
                  <a:pos x="T6" y="T7"/>
                </a:cxn>
                <a:cxn ang="0">
                  <a:pos x="T8" y="T9"/>
                </a:cxn>
                <a:cxn ang="0">
                  <a:pos x="T10" y="T11"/>
                </a:cxn>
              </a:cxnLst>
              <a:rect l="0" t="0" r="r" b="b"/>
              <a:pathLst>
                <a:path w="15" h="17">
                  <a:moveTo>
                    <a:pt x="15" y="0"/>
                  </a:moveTo>
                  <a:cubicBezTo>
                    <a:pt x="0" y="0"/>
                    <a:pt x="0" y="0"/>
                    <a:pt x="0" y="0"/>
                  </a:cubicBezTo>
                  <a:cubicBezTo>
                    <a:pt x="0" y="16"/>
                    <a:pt x="0" y="16"/>
                    <a:pt x="0" y="16"/>
                  </a:cubicBezTo>
                  <a:cubicBezTo>
                    <a:pt x="2" y="17"/>
                    <a:pt x="3" y="17"/>
                    <a:pt x="5" y="17"/>
                  </a:cubicBezTo>
                  <a:cubicBezTo>
                    <a:pt x="8" y="17"/>
                    <a:pt x="14" y="15"/>
                    <a:pt x="15" y="11"/>
                  </a:cubicBezTo>
                  <a:cubicBezTo>
                    <a:pt x="15" y="0"/>
                    <a:pt x="15" y="0"/>
                    <a:pt x="15" y="0"/>
                  </a:cubicBezTo>
                </a:path>
              </a:pathLst>
            </a:custGeom>
            <a:solidFill>
              <a:srgbClr val="EEC29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42">
              <a:extLst>
                <a:ext uri="{FF2B5EF4-FFF2-40B4-BE49-F238E27FC236}">
                  <a16:creationId xmlns:a16="http://schemas.microsoft.com/office/drawing/2014/main" id="{FE454F8C-08CA-6447-83F7-0A40F5112BD3}"/>
                </a:ext>
              </a:extLst>
            </p:cNvPr>
            <p:cNvSpPr>
              <a:spLocks/>
            </p:cNvSpPr>
            <p:nvPr/>
          </p:nvSpPr>
          <p:spPr bwMode="auto">
            <a:xfrm>
              <a:off x="3967163" y="603251"/>
              <a:ext cx="192088" cy="263525"/>
            </a:xfrm>
            <a:custGeom>
              <a:avLst/>
              <a:gdLst>
                <a:gd name="T0" fmla="*/ 0 w 38"/>
                <a:gd name="T1" fmla="*/ 24 h 52"/>
                <a:gd name="T2" fmla="*/ 19 w 38"/>
                <a:gd name="T3" fmla="*/ 0 h 52"/>
                <a:gd name="T4" fmla="*/ 38 w 38"/>
                <a:gd name="T5" fmla="*/ 24 h 52"/>
                <a:gd name="T6" fmla="*/ 19 w 38"/>
                <a:gd name="T7" fmla="*/ 52 h 52"/>
                <a:gd name="T8" fmla="*/ 0 w 38"/>
                <a:gd name="T9" fmla="*/ 24 h 52"/>
              </a:gdLst>
              <a:ahLst/>
              <a:cxnLst>
                <a:cxn ang="0">
                  <a:pos x="T0" y="T1"/>
                </a:cxn>
                <a:cxn ang="0">
                  <a:pos x="T2" y="T3"/>
                </a:cxn>
                <a:cxn ang="0">
                  <a:pos x="T4" y="T5"/>
                </a:cxn>
                <a:cxn ang="0">
                  <a:pos x="T6" y="T7"/>
                </a:cxn>
                <a:cxn ang="0">
                  <a:pos x="T8" y="T9"/>
                </a:cxn>
              </a:cxnLst>
              <a:rect l="0" t="0" r="r" b="b"/>
              <a:pathLst>
                <a:path w="38" h="52">
                  <a:moveTo>
                    <a:pt x="0" y="24"/>
                  </a:moveTo>
                  <a:cubicBezTo>
                    <a:pt x="0" y="9"/>
                    <a:pt x="8" y="0"/>
                    <a:pt x="19" y="0"/>
                  </a:cubicBezTo>
                  <a:cubicBezTo>
                    <a:pt x="29" y="0"/>
                    <a:pt x="38" y="9"/>
                    <a:pt x="38" y="24"/>
                  </a:cubicBezTo>
                  <a:cubicBezTo>
                    <a:pt x="38" y="45"/>
                    <a:pt x="29" y="52"/>
                    <a:pt x="19" y="52"/>
                  </a:cubicBezTo>
                  <a:cubicBezTo>
                    <a:pt x="8" y="52"/>
                    <a:pt x="0" y="44"/>
                    <a:pt x="0" y="24"/>
                  </a:cubicBezTo>
                  <a:close/>
                </a:path>
              </a:pathLst>
            </a:custGeom>
            <a:solidFill>
              <a:srgbClr val="F1C9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43">
              <a:extLst>
                <a:ext uri="{FF2B5EF4-FFF2-40B4-BE49-F238E27FC236}">
                  <a16:creationId xmlns:a16="http://schemas.microsoft.com/office/drawing/2014/main" id="{ABD71374-1228-2E4A-BC29-FF812D896426}"/>
                </a:ext>
              </a:extLst>
            </p:cNvPr>
            <p:cNvSpPr>
              <a:spLocks/>
            </p:cNvSpPr>
            <p:nvPr/>
          </p:nvSpPr>
          <p:spPr bwMode="auto">
            <a:xfrm>
              <a:off x="3967163" y="603251"/>
              <a:ext cx="192088" cy="263525"/>
            </a:xfrm>
            <a:custGeom>
              <a:avLst/>
              <a:gdLst>
                <a:gd name="T0" fmla="*/ 0 w 38"/>
                <a:gd name="T1" fmla="*/ 24 h 52"/>
                <a:gd name="T2" fmla="*/ 19 w 38"/>
                <a:gd name="T3" fmla="*/ 0 h 52"/>
                <a:gd name="T4" fmla="*/ 38 w 38"/>
                <a:gd name="T5" fmla="*/ 24 h 52"/>
                <a:gd name="T6" fmla="*/ 19 w 38"/>
                <a:gd name="T7" fmla="*/ 52 h 52"/>
                <a:gd name="T8" fmla="*/ 0 w 38"/>
                <a:gd name="T9" fmla="*/ 24 h 52"/>
              </a:gdLst>
              <a:ahLst/>
              <a:cxnLst>
                <a:cxn ang="0">
                  <a:pos x="T0" y="T1"/>
                </a:cxn>
                <a:cxn ang="0">
                  <a:pos x="T2" y="T3"/>
                </a:cxn>
                <a:cxn ang="0">
                  <a:pos x="T4" y="T5"/>
                </a:cxn>
                <a:cxn ang="0">
                  <a:pos x="T6" y="T7"/>
                </a:cxn>
                <a:cxn ang="0">
                  <a:pos x="T8" y="T9"/>
                </a:cxn>
              </a:cxnLst>
              <a:rect l="0" t="0" r="r" b="b"/>
              <a:pathLst>
                <a:path w="38" h="52">
                  <a:moveTo>
                    <a:pt x="0" y="24"/>
                  </a:moveTo>
                  <a:cubicBezTo>
                    <a:pt x="0" y="9"/>
                    <a:pt x="8" y="0"/>
                    <a:pt x="19" y="0"/>
                  </a:cubicBezTo>
                  <a:cubicBezTo>
                    <a:pt x="29" y="0"/>
                    <a:pt x="38" y="9"/>
                    <a:pt x="38" y="24"/>
                  </a:cubicBezTo>
                  <a:cubicBezTo>
                    <a:pt x="38" y="45"/>
                    <a:pt x="29" y="52"/>
                    <a:pt x="19" y="52"/>
                  </a:cubicBezTo>
                  <a:cubicBezTo>
                    <a:pt x="8" y="52"/>
                    <a:pt x="0" y="44"/>
                    <a:pt x="0" y="24"/>
                  </a:cubicBezTo>
                  <a:close/>
                </a:path>
              </a:pathLst>
            </a:custGeom>
            <a:solidFill>
              <a:srgbClr val="F1C9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44">
              <a:extLst>
                <a:ext uri="{FF2B5EF4-FFF2-40B4-BE49-F238E27FC236}">
                  <a16:creationId xmlns:a16="http://schemas.microsoft.com/office/drawing/2014/main" id="{A1C1E2B1-0499-1544-803E-5BF783241904}"/>
                </a:ext>
              </a:extLst>
            </p:cNvPr>
            <p:cNvSpPr>
              <a:spLocks/>
            </p:cNvSpPr>
            <p:nvPr/>
          </p:nvSpPr>
          <p:spPr bwMode="auto">
            <a:xfrm>
              <a:off x="3941763" y="700088"/>
              <a:ext cx="66675" cy="80963"/>
            </a:xfrm>
            <a:custGeom>
              <a:avLst/>
              <a:gdLst>
                <a:gd name="T0" fmla="*/ 0 w 13"/>
                <a:gd name="T1" fmla="*/ 9 h 16"/>
                <a:gd name="T2" fmla="*/ 6 w 13"/>
                <a:gd name="T3" fmla="*/ 0 h 16"/>
                <a:gd name="T4" fmla="*/ 13 w 13"/>
                <a:gd name="T5" fmla="*/ 7 h 16"/>
                <a:gd name="T6" fmla="*/ 8 w 13"/>
                <a:gd name="T7" fmla="*/ 16 h 16"/>
                <a:gd name="T8" fmla="*/ 0 w 13"/>
                <a:gd name="T9" fmla="*/ 9 h 16"/>
              </a:gdLst>
              <a:ahLst/>
              <a:cxnLst>
                <a:cxn ang="0">
                  <a:pos x="T0" y="T1"/>
                </a:cxn>
                <a:cxn ang="0">
                  <a:pos x="T2" y="T3"/>
                </a:cxn>
                <a:cxn ang="0">
                  <a:pos x="T4" y="T5"/>
                </a:cxn>
                <a:cxn ang="0">
                  <a:pos x="T6" y="T7"/>
                </a:cxn>
                <a:cxn ang="0">
                  <a:pos x="T8" y="T9"/>
                </a:cxn>
              </a:cxnLst>
              <a:rect l="0" t="0" r="r" b="b"/>
              <a:pathLst>
                <a:path w="13" h="16">
                  <a:moveTo>
                    <a:pt x="0" y="9"/>
                  </a:moveTo>
                  <a:cubicBezTo>
                    <a:pt x="0" y="4"/>
                    <a:pt x="2" y="1"/>
                    <a:pt x="6" y="0"/>
                  </a:cubicBezTo>
                  <a:cubicBezTo>
                    <a:pt x="9" y="0"/>
                    <a:pt x="12" y="3"/>
                    <a:pt x="13" y="7"/>
                  </a:cubicBezTo>
                  <a:cubicBezTo>
                    <a:pt x="13" y="12"/>
                    <a:pt x="11" y="15"/>
                    <a:pt x="8" y="16"/>
                  </a:cubicBezTo>
                  <a:cubicBezTo>
                    <a:pt x="4" y="16"/>
                    <a:pt x="1" y="13"/>
                    <a:pt x="0" y="9"/>
                  </a:cubicBezTo>
                  <a:close/>
                </a:path>
              </a:pathLst>
            </a:custGeom>
            <a:solidFill>
              <a:srgbClr val="F1C9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45">
              <a:extLst>
                <a:ext uri="{FF2B5EF4-FFF2-40B4-BE49-F238E27FC236}">
                  <a16:creationId xmlns:a16="http://schemas.microsoft.com/office/drawing/2014/main" id="{E197F8A8-588E-4D4B-9DF2-C3728CF1456D}"/>
                </a:ext>
              </a:extLst>
            </p:cNvPr>
            <p:cNvSpPr>
              <a:spLocks/>
            </p:cNvSpPr>
            <p:nvPr/>
          </p:nvSpPr>
          <p:spPr bwMode="auto">
            <a:xfrm>
              <a:off x="4113213" y="700088"/>
              <a:ext cx="71438" cy="80963"/>
            </a:xfrm>
            <a:custGeom>
              <a:avLst/>
              <a:gdLst>
                <a:gd name="T0" fmla="*/ 6 w 14"/>
                <a:gd name="T1" fmla="*/ 16 h 16"/>
                <a:gd name="T2" fmla="*/ 1 w 14"/>
                <a:gd name="T3" fmla="*/ 7 h 16"/>
                <a:gd name="T4" fmla="*/ 8 w 14"/>
                <a:gd name="T5" fmla="*/ 0 h 16"/>
                <a:gd name="T6" fmla="*/ 13 w 14"/>
                <a:gd name="T7" fmla="*/ 9 h 16"/>
                <a:gd name="T8" fmla="*/ 6 w 14"/>
                <a:gd name="T9" fmla="*/ 16 h 16"/>
              </a:gdLst>
              <a:ahLst/>
              <a:cxnLst>
                <a:cxn ang="0">
                  <a:pos x="T0" y="T1"/>
                </a:cxn>
                <a:cxn ang="0">
                  <a:pos x="T2" y="T3"/>
                </a:cxn>
                <a:cxn ang="0">
                  <a:pos x="T4" y="T5"/>
                </a:cxn>
                <a:cxn ang="0">
                  <a:pos x="T6" y="T7"/>
                </a:cxn>
                <a:cxn ang="0">
                  <a:pos x="T8" y="T9"/>
                </a:cxn>
              </a:cxnLst>
              <a:rect l="0" t="0" r="r" b="b"/>
              <a:pathLst>
                <a:path w="14" h="16">
                  <a:moveTo>
                    <a:pt x="6" y="16"/>
                  </a:moveTo>
                  <a:cubicBezTo>
                    <a:pt x="2" y="15"/>
                    <a:pt x="0" y="12"/>
                    <a:pt x="1" y="7"/>
                  </a:cubicBezTo>
                  <a:cubicBezTo>
                    <a:pt x="1" y="3"/>
                    <a:pt x="4" y="0"/>
                    <a:pt x="8" y="0"/>
                  </a:cubicBezTo>
                  <a:cubicBezTo>
                    <a:pt x="11" y="1"/>
                    <a:pt x="14" y="4"/>
                    <a:pt x="13" y="9"/>
                  </a:cubicBezTo>
                  <a:cubicBezTo>
                    <a:pt x="12" y="13"/>
                    <a:pt x="9" y="16"/>
                    <a:pt x="6" y="16"/>
                  </a:cubicBezTo>
                  <a:close/>
                </a:path>
              </a:pathLst>
            </a:custGeom>
            <a:solidFill>
              <a:srgbClr val="F1C9A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46">
              <a:extLst>
                <a:ext uri="{FF2B5EF4-FFF2-40B4-BE49-F238E27FC236}">
                  <a16:creationId xmlns:a16="http://schemas.microsoft.com/office/drawing/2014/main" id="{0EA7A33F-933E-F349-9742-E420132CE9E6}"/>
                </a:ext>
              </a:extLst>
            </p:cNvPr>
            <p:cNvSpPr>
              <a:spLocks/>
            </p:cNvSpPr>
            <p:nvPr/>
          </p:nvSpPr>
          <p:spPr bwMode="auto">
            <a:xfrm>
              <a:off x="3876676" y="896938"/>
              <a:ext cx="374650" cy="182563"/>
            </a:xfrm>
            <a:custGeom>
              <a:avLst/>
              <a:gdLst>
                <a:gd name="T0" fmla="*/ 5 w 74"/>
                <a:gd name="T1" fmla="*/ 11 h 36"/>
                <a:gd name="T2" fmla="*/ 29 w 74"/>
                <a:gd name="T3" fmla="*/ 0 h 36"/>
                <a:gd name="T4" fmla="*/ 37 w 74"/>
                <a:gd name="T5" fmla="*/ 7 h 36"/>
                <a:gd name="T6" fmla="*/ 45 w 74"/>
                <a:gd name="T7" fmla="*/ 0 h 36"/>
                <a:gd name="T8" fmla="*/ 68 w 74"/>
                <a:gd name="T9" fmla="*/ 11 h 36"/>
                <a:gd name="T10" fmla="*/ 74 w 74"/>
                <a:gd name="T11" fmla="*/ 36 h 36"/>
                <a:gd name="T12" fmla="*/ 37 w 74"/>
                <a:gd name="T13" fmla="*/ 36 h 36"/>
                <a:gd name="T14" fmla="*/ 0 w 74"/>
                <a:gd name="T15" fmla="*/ 36 h 36"/>
                <a:gd name="T16" fmla="*/ 5 w 74"/>
                <a:gd name="T17"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36">
                  <a:moveTo>
                    <a:pt x="5" y="11"/>
                  </a:moveTo>
                  <a:cubicBezTo>
                    <a:pt x="8" y="6"/>
                    <a:pt x="20" y="2"/>
                    <a:pt x="29" y="0"/>
                  </a:cubicBezTo>
                  <a:cubicBezTo>
                    <a:pt x="29" y="4"/>
                    <a:pt x="32" y="7"/>
                    <a:pt x="37" y="7"/>
                  </a:cubicBezTo>
                  <a:cubicBezTo>
                    <a:pt x="41" y="7"/>
                    <a:pt x="45" y="4"/>
                    <a:pt x="45" y="0"/>
                  </a:cubicBezTo>
                  <a:cubicBezTo>
                    <a:pt x="53" y="2"/>
                    <a:pt x="65" y="6"/>
                    <a:pt x="68" y="11"/>
                  </a:cubicBezTo>
                  <a:cubicBezTo>
                    <a:pt x="71" y="22"/>
                    <a:pt x="74" y="36"/>
                    <a:pt x="74" y="36"/>
                  </a:cubicBezTo>
                  <a:cubicBezTo>
                    <a:pt x="37" y="36"/>
                    <a:pt x="37" y="36"/>
                    <a:pt x="37" y="36"/>
                  </a:cubicBezTo>
                  <a:cubicBezTo>
                    <a:pt x="0" y="36"/>
                    <a:pt x="0" y="36"/>
                    <a:pt x="0" y="36"/>
                  </a:cubicBezTo>
                  <a:cubicBezTo>
                    <a:pt x="0" y="36"/>
                    <a:pt x="2" y="21"/>
                    <a:pt x="5" y="11"/>
                  </a:cubicBezTo>
                  <a:close/>
                </a:path>
              </a:pathLst>
            </a:custGeom>
            <a:solidFill>
              <a:srgbClr val="102F4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47">
              <a:extLst>
                <a:ext uri="{FF2B5EF4-FFF2-40B4-BE49-F238E27FC236}">
                  <a16:creationId xmlns:a16="http://schemas.microsoft.com/office/drawing/2014/main" id="{FF0B9C1B-3C66-FA4F-AA94-AC9393012CD5}"/>
                </a:ext>
              </a:extLst>
            </p:cNvPr>
            <p:cNvSpPr>
              <a:spLocks/>
            </p:cNvSpPr>
            <p:nvPr/>
          </p:nvSpPr>
          <p:spPr bwMode="auto">
            <a:xfrm>
              <a:off x="3957638" y="598488"/>
              <a:ext cx="201613" cy="131763"/>
            </a:xfrm>
            <a:custGeom>
              <a:avLst/>
              <a:gdLst>
                <a:gd name="T0" fmla="*/ 21 w 40"/>
                <a:gd name="T1" fmla="*/ 0 h 26"/>
                <a:gd name="T2" fmla="*/ 40 w 40"/>
                <a:gd name="T3" fmla="*/ 24 h 26"/>
                <a:gd name="T4" fmla="*/ 39 w 40"/>
                <a:gd name="T5" fmla="*/ 26 h 26"/>
                <a:gd name="T6" fmla="*/ 36 w 40"/>
                <a:gd name="T7" fmla="*/ 12 h 26"/>
                <a:gd name="T8" fmla="*/ 6 w 40"/>
                <a:gd name="T9" fmla="*/ 12 h 26"/>
                <a:gd name="T10" fmla="*/ 2 w 40"/>
                <a:gd name="T11" fmla="*/ 26 h 26"/>
                <a:gd name="T12" fmla="*/ 2 w 40"/>
                <a:gd name="T13" fmla="*/ 25 h 26"/>
                <a:gd name="T14" fmla="*/ 21 w 40"/>
                <a:gd name="T15" fmla="*/ 0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26">
                  <a:moveTo>
                    <a:pt x="21" y="0"/>
                  </a:moveTo>
                  <a:cubicBezTo>
                    <a:pt x="31" y="0"/>
                    <a:pt x="40" y="9"/>
                    <a:pt x="40" y="24"/>
                  </a:cubicBezTo>
                  <a:cubicBezTo>
                    <a:pt x="40" y="25"/>
                    <a:pt x="40" y="25"/>
                    <a:pt x="39" y="26"/>
                  </a:cubicBezTo>
                  <a:cubicBezTo>
                    <a:pt x="39" y="26"/>
                    <a:pt x="37" y="21"/>
                    <a:pt x="36" y="12"/>
                  </a:cubicBezTo>
                  <a:cubicBezTo>
                    <a:pt x="28" y="19"/>
                    <a:pt x="19" y="21"/>
                    <a:pt x="6" y="12"/>
                  </a:cubicBezTo>
                  <a:cubicBezTo>
                    <a:pt x="6" y="19"/>
                    <a:pt x="4" y="23"/>
                    <a:pt x="2" y="26"/>
                  </a:cubicBezTo>
                  <a:cubicBezTo>
                    <a:pt x="2" y="26"/>
                    <a:pt x="2" y="25"/>
                    <a:pt x="2" y="25"/>
                  </a:cubicBezTo>
                  <a:cubicBezTo>
                    <a:pt x="0" y="9"/>
                    <a:pt x="10" y="0"/>
                    <a:pt x="21" y="0"/>
                  </a:cubicBezTo>
                  <a:close/>
                </a:path>
              </a:pathLst>
            </a:custGeom>
            <a:solidFill>
              <a:srgbClr val="26242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3" name="Freeform 155">
            <a:extLst>
              <a:ext uri="{FF2B5EF4-FFF2-40B4-BE49-F238E27FC236}">
                <a16:creationId xmlns:a16="http://schemas.microsoft.com/office/drawing/2014/main" id="{DC2C559F-E859-1F4A-83CB-B227A43FD65A}"/>
              </a:ext>
            </a:extLst>
          </p:cNvPr>
          <p:cNvSpPr>
            <a:spLocks noEditPoints="1"/>
          </p:cNvSpPr>
          <p:nvPr/>
        </p:nvSpPr>
        <p:spPr bwMode="auto">
          <a:xfrm>
            <a:off x="1854461" y="3874266"/>
            <a:ext cx="467086" cy="461264"/>
          </a:xfrm>
          <a:custGeom>
            <a:avLst/>
            <a:gdLst>
              <a:gd name="T0" fmla="*/ 23 w 189"/>
              <a:gd name="T1" fmla="*/ 157 h 185"/>
              <a:gd name="T2" fmla="*/ 21 w 189"/>
              <a:gd name="T3" fmla="*/ 160 h 185"/>
              <a:gd name="T4" fmla="*/ 26 w 189"/>
              <a:gd name="T5" fmla="*/ 164 h 185"/>
              <a:gd name="T6" fmla="*/ 30 w 189"/>
              <a:gd name="T7" fmla="*/ 160 h 185"/>
              <a:gd name="T8" fmla="*/ 26 w 189"/>
              <a:gd name="T9" fmla="*/ 156 h 185"/>
              <a:gd name="T10" fmla="*/ 23 w 189"/>
              <a:gd name="T11" fmla="*/ 157 h 185"/>
              <a:gd name="T12" fmla="*/ 179 w 189"/>
              <a:gd name="T13" fmla="*/ 37 h 185"/>
              <a:gd name="T14" fmla="*/ 176 w 189"/>
              <a:gd name="T15" fmla="*/ 40 h 185"/>
              <a:gd name="T16" fmla="*/ 176 w 189"/>
              <a:gd name="T17" fmla="*/ 40 h 185"/>
              <a:gd name="T18" fmla="*/ 154 w 189"/>
              <a:gd name="T19" fmla="*/ 61 h 185"/>
              <a:gd name="T20" fmla="*/ 154 w 189"/>
              <a:gd name="T21" fmla="*/ 61 h 185"/>
              <a:gd name="T22" fmla="*/ 140 w 189"/>
              <a:gd name="T23" fmla="*/ 67 h 185"/>
              <a:gd name="T24" fmla="*/ 118 w 189"/>
              <a:gd name="T25" fmla="*/ 46 h 185"/>
              <a:gd name="T26" fmla="*/ 125 w 189"/>
              <a:gd name="T27" fmla="*/ 31 h 185"/>
              <a:gd name="T28" fmla="*/ 119 w 189"/>
              <a:gd name="T29" fmla="*/ 25 h 185"/>
              <a:gd name="T30" fmla="*/ 110 w 189"/>
              <a:gd name="T31" fmla="*/ 46 h 185"/>
              <a:gd name="T32" fmla="*/ 140 w 189"/>
              <a:gd name="T33" fmla="*/ 76 h 185"/>
              <a:gd name="T34" fmla="*/ 160 w 189"/>
              <a:gd name="T35" fmla="*/ 67 h 185"/>
              <a:gd name="T36" fmla="*/ 160 w 189"/>
              <a:gd name="T37" fmla="*/ 67 h 185"/>
              <a:gd name="T38" fmla="*/ 176 w 189"/>
              <a:gd name="T39" fmla="*/ 51 h 185"/>
              <a:gd name="T40" fmla="*/ 171 w 189"/>
              <a:gd name="T41" fmla="*/ 82 h 185"/>
              <a:gd name="T42" fmla="*/ 148 w 189"/>
              <a:gd name="T43" fmla="*/ 105 h 185"/>
              <a:gd name="T44" fmla="*/ 136 w 189"/>
              <a:gd name="T45" fmla="*/ 110 h 185"/>
              <a:gd name="T46" fmla="*/ 108 w 189"/>
              <a:gd name="T47" fmla="*/ 100 h 185"/>
              <a:gd name="T48" fmla="*/ 108 w 189"/>
              <a:gd name="T49" fmla="*/ 100 h 185"/>
              <a:gd name="T50" fmla="*/ 106 w 189"/>
              <a:gd name="T51" fmla="*/ 99 h 185"/>
              <a:gd name="T52" fmla="*/ 102 w 189"/>
              <a:gd name="T53" fmla="*/ 101 h 185"/>
              <a:gd name="T54" fmla="*/ 102 w 189"/>
              <a:gd name="T55" fmla="*/ 101 h 185"/>
              <a:gd name="T56" fmla="*/ 38 w 189"/>
              <a:gd name="T57" fmla="*/ 172 h 185"/>
              <a:gd name="T58" fmla="*/ 26 w 189"/>
              <a:gd name="T59" fmla="*/ 177 h 185"/>
              <a:gd name="T60" fmla="*/ 9 w 189"/>
              <a:gd name="T61" fmla="*/ 160 h 185"/>
              <a:gd name="T62" fmla="*/ 14 w 189"/>
              <a:gd name="T63" fmla="*/ 148 h 185"/>
              <a:gd name="T64" fmla="*/ 85 w 189"/>
              <a:gd name="T65" fmla="*/ 84 h 185"/>
              <a:gd name="T66" fmla="*/ 85 w 189"/>
              <a:gd name="T67" fmla="*/ 84 h 185"/>
              <a:gd name="T68" fmla="*/ 87 w 189"/>
              <a:gd name="T69" fmla="*/ 81 h 185"/>
              <a:gd name="T70" fmla="*/ 86 w 189"/>
              <a:gd name="T71" fmla="*/ 78 h 185"/>
              <a:gd name="T72" fmla="*/ 86 w 189"/>
              <a:gd name="T73" fmla="*/ 78 h 185"/>
              <a:gd name="T74" fmla="*/ 84 w 189"/>
              <a:gd name="T75" fmla="*/ 38 h 185"/>
              <a:gd name="T76" fmla="*/ 106 w 189"/>
              <a:gd name="T77" fmla="*/ 15 h 185"/>
              <a:gd name="T78" fmla="*/ 125 w 189"/>
              <a:gd name="T79" fmla="*/ 8 h 185"/>
              <a:gd name="T80" fmla="*/ 125 w 189"/>
              <a:gd name="T81" fmla="*/ 8 h 185"/>
              <a:gd name="T82" fmla="*/ 134 w 189"/>
              <a:gd name="T83" fmla="*/ 10 h 185"/>
              <a:gd name="T84" fmla="*/ 119 w 189"/>
              <a:gd name="T85" fmla="*/ 25 h 185"/>
              <a:gd name="T86" fmla="*/ 125 w 189"/>
              <a:gd name="T87" fmla="*/ 31 h 185"/>
              <a:gd name="T88" fmla="*/ 146 w 189"/>
              <a:gd name="T89" fmla="*/ 10 h 185"/>
              <a:gd name="T90" fmla="*/ 146 w 189"/>
              <a:gd name="T91" fmla="*/ 10 h 185"/>
              <a:gd name="T92" fmla="*/ 149 w 189"/>
              <a:gd name="T93" fmla="*/ 6 h 185"/>
              <a:gd name="T94" fmla="*/ 125 w 189"/>
              <a:gd name="T95" fmla="*/ 0 h 185"/>
              <a:gd name="T96" fmla="*/ 125 w 189"/>
              <a:gd name="T97" fmla="*/ 0 h 185"/>
              <a:gd name="T98" fmla="*/ 100 w 189"/>
              <a:gd name="T99" fmla="*/ 9 h 185"/>
              <a:gd name="T100" fmla="*/ 78 w 189"/>
              <a:gd name="T101" fmla="*/ 33 h 185"/>
              <a:gd name="T102" fmla="*/ 77 w 189"/>
              <a:gd name="T103" fmla="*/ 80 h 185"/>
              <a:gd name="T104" fmla="*/ 8 w 189"/>
              <a:gd name="T105" fmla="*/ 142 h 185"/>
              <a:gd name="T106" fmla="*/ 0 w 189"/>
              <a:gd name="T107" fmla="*/ 160 h 185"/>
              <a:gd name="T108" fmla="*/ 26 w 189"/>
              <a:gd name="T109" fmla="*/ 185 h 185"/>
              <a:gd name="T110" fmla="*/ 44 w 189"/>
              <a:gd name="T111" fmla="*/ 178 h 185"/>
              <a:gd name="T112" fmla="*/ 106 w 189"/>
              <a:gd name="T113" fmla="*/ 109 h 185"/>
              <a:gd name="T114" fmla="*/ 136 w 189"/>
              <a:gd name="T115" fmla="*/ 118 h 185"/>
              <a:gd name="T116" fmla="*/ 154 w 189"/>
              <a:gd name="T117" fmla="*/ 111 h 185"/>
              <a:gd name="T118" fmla="*/ 177 w 189"/>
              <a:gd name="T119" fmla="*/ 87 h 185"/>
              <a:gd name="T120" fmla="*/ 179 w 189"/>
              <a:gd name="T121" fmla="*/ 3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9" h="185">
                <a:moveTo>
                  <a:pt x="23" y="157"/>
                </a:moveTo>
                <a:cubicBezTo>
                  <a:pt x="22" y="158"/>
                  <a:pt x="21" y="159"/>
                  <a:pt x="21" y="160"/>
                </a:cubicBezTo>
                <a:cubicBezTo>
                  <a:pt x="21" y="162"/>
                  <a:pt x="23" y="164"/>
                  <a:pt x="26" y="164"/>
                </a:cubicBezTo>
                <a:cubicBezTo>
                  <a:pt x="28" y="164"/>
                  <a:pt x="30" y="162"/>
                  <a:pt x="30" y="160"/>
                </a:cubicBezTo>
                <a:cubicBezTo>
                  <a:pt x="30" y="158"/>
                  <a:pt x="28" y="156"/>
                  <a:pt x="26" y="156"/>
                </a:cubicBezTo>
                <a:cubicBezTo>
                  <a:pt x="24" y="156"/>
                  <a:pt x="23" y="156"/>
                  <a:pt x="23" y="157"/>
                </a:cubicBezTo>
                <a:close/>
                <a:moveTo>
                  <a:pt x="179" y="37"/>
                </a:moveTo>
                <a:cubicBezTo>
                  <a:pt x="176" y="40"/>
                  <a:pt x="176" y="40"/>
                  <a:pt x="176" y="40"/>
                </a:cubicBezTo>
                <a:cubicBezTo>
                  <a:pt x="176" y="40"/>
                  <a:pt x="176" y="40"/>
                  <a:pt x="176" y="40"/>
                </a:cubicBezTo>
                <a:cubicBezTo>
                  <a:pt x="154" y="61"/>
                  <a:pt x="154" y="61"/>
                  <a:pt x="154" y="61"/>
                </a:cubicBezTo>
                <a:cubicBezTo>
                  <a:pt x="154" y="61"/>
                  <a:pt x="154" y="61"/>
                  <a:pt x="154" y="61"/>
                </a:cubicBezTo>
                <a:cubicBezTo>
                  <a:pt x="151" y="65"/>
                  <a:pt x="145" y="67"/>
                  <a:pt x="140" y="67"/>
                </a:cubicBezTo>
                <a:cubicBezTo>
                  <a:pt x="128" y="67"/>
                  <a:pt x="118" y="58"/>
                  <a:pt x="118" y="46"/>
                </a:cubicBezTo>
                <a:cubicBezTo>
                  <a:pt x="118" y="40"/>
                  <a:pt x="121" y="35"/>
                  <a:pt x="125" y="31"/>
                </a:cubicBezTo>
                <a:cubicBezTo>
                  <a:pt x="119" y="25"/>
                  <a:pt x="119" y="25"/>
                  <a:pt x="119" y="25"/>
                </a:cubicBezTo>
                <a:cubicBezTo>
                  <a:pt x="113" y="31"/>
                  <a:pt x="110" y="38"/>
                  <a:pt x="110" y="46"/>
                </a:cubicBezTo>
                <a:cubicBezTo>
                  <a:pt x="110" y="63"/>
                  <a:pt x="123" y="76"/>
                  <a:pt x="140" y="76"/>
                </a:cubicBezTo>
                <a:cubicBezTo>
                  <a:pt x="148" y="76"/>
                  <a:pt x="155" y="72"/>
                  <a:pt x="160" y="67"/>
                </a:cubicBezTo>
                <a:cubicBezTo>
                  <a:pt x="160" y="67"/>
                  <a:pt x="160" y="67"/>
                  <a:pt x="160" y="67"/>
                </a:cubicBezTo>
                <a:cubicBezTo>
                  <a:pt x="176" y="51"/>
                  <a:pt x="176" y="51"/>
                  <a:pt x="176" y="51"/>
                </a:cubicBezTo>
                <a:cubicBezTo>
                  <a:pt x="179" y="63"/>
                  <a:pt x="178" y="74"/>
                  <a:pt x="171" y="82"/>
                </a:cubicBezTo>
                <a:cubicBezTo>
                  <a:pt x="148" y="105"/>
                  <a:pt x="148" y="105"/>
                  <a:pt x="148" y="105"/>
                </a:cubicBezTo>
                <a:cubicBezTo>
                  <a:pt x="145" y="108"/>
                  <a:pt x="141" y="110"/>
                  <a:pt x="136" y="110"/>
                </a:cubicBezTo>
                <a:cubicBezTo>
                  <a:pt x="136" y="110"/>
                  <a:pt x="122" y="109"/>
                  <a:pt x="108" y="100"/>
                </a:cubicBezTo>
                <a:cubicBezTo>
                  <a:pt x="108" y="100"/>
                  <a:pt x="108" y="100"/>
                  <a:pt x="108" y="100"/>
                </a:cubicBezTo>
                <a:cubicBezTo>
                  <a:pt x="107" y="99"/>
                  <a:pt x="106" y="99"/>
                  <a:pt x="106" y="99"/>
                </a:cubicBezTo>
                <a:cubicBezTo>
                  <a:pt x="104" y="99"/>
                  <a:pt x="103" y="100"/>
                  <a:pt x="102" y="101"/>
                </a:cubicBezTo>
                <a:cubicBezTo>
                  <a:pt x="102" y="101"/>
                  <a:pt x="102" y="101"/>
                  <a:pt x="102" y="101"/>
                </a:cubicBezTo>
                <a:cubicBezTo>
                  <a:pt x="38" y="172"/>
                  <a:pt x="38" y="172"/>
                  <a:pt x="38" y="172"/>
                </a:cubicBezTo>
                <a:cubicBezTo>
                  <a:pt x="34" y="175"/>
                  <a:pt x="30" y="177"/>
                  <a:pt x="26" y="177"/>
                </a:cubicBezTo>
                <a:cubicBezTo>
                  <a:pt x="16" y="177"/>
                  <a:pt x="9" y="169"/>
                  <a:pt x="9" y="160"/>
                </a:cubicBezTo>
                <a:cubicBezTo>
                  <a:pt x="9" y="155"/>
                  <a:pt x="11" y="151"/>
                  <a:pt x="14" y="148"/>
                </a:cubicBezTo>
                <a:cubicBezTo>
                  <a:pt x="85" y="84"/>
                  <a:pt x="85" y="84"/>
                  <a:pt x="85" y="84"/>
                </a:cubicBezTo>
                <a:cubicBezTo>
                  <a:pt x="85" y="84"/>
                  <a:pt x="85" y="84"/>
                  <a:pt x="85" y="84"/>
                </a:cubicBezTo>
                <a:cubicBezTo>
                  <a:pt x="86" y="83"/>
                  <a:pt x="87" y="82"/>
                  <a:pt x="87" y="81"/>
                </a:cubicBezTo>
                <a:cubicBezTo>
                  <a:pt x="87" y="80"/>
                  <a:pt x="86" y="79"/>
                  <a:pt x="86" y="78"/>
                </a:cubicBezTo>
                <a:cubicBezTo>
                  <a:pt x="86" y="78"/>
                  <a:pt x="86" y="78"/>
                  <a:pt x="86" y="78"/>
                </a:cubicBezTo>
                <a:cubicBezTo>
                  <a:pt x="73" y="62"/>
                  <a:pt x="73" y="50"/>
                  <a:pt x="84" y="38"/>
                </a:cubicBezTo>
                <a:cubicBezTo>
                  <a:pt x="106" y="15"/>
                  <a:pt x="106" y="15"/>
                  <a:pt x="106" y="15"/>
                </a:cubicBezTo>
                <a:cubicBezTo>
                  <a:pt x="112" y="9"/>
                  <a:pt x="119" y="8"/>
                  <a:pt x="125" y="8"/>
                </a:cubicBezTo>
                <a:cubicBezTo>
                  <a:pt x="125" y="8"/>
                  <a:pt x="125" y="8"/>
                  <a:pt x="125" y="8"/>
                </a:cubicBezTo>
                <a:cubicBezTo>
                  <a:pt x="128" y="8"/>
                  <a:pt x="131" y="9"/>
                  <a:pt x="134" y="10"/>
                </a:cubicBezTo>
                <a:cubicBezTo>
                  <a:pt x="119" y="25"/>
                  <a:pt x="119" y="25"/>
                  <a:pt x="119" y="25"/>
                </a:cubicBezTo>
                <a:cubicBezTo>
                  <a:pt x="125" y="31"/>
                  <a:pt x="125" y="31"/>
                  <a:pt x="125" y="31"/>
                </a:cubicBezTo>
                <a:cubicBezTo>
                  <a:pt x="146" y="10"/>
                  <a:pt x="146" y="10"/>
                  <a:pt x="146" y="10"/>
                </a:cubicBezTo>
                <a:cubicBezTo>
                  <a:pt x="146" y="10"/>
                  <a:pt x="146" y="10"/>
                  <a:pt x="146" y="10"/>
                </a:cubicBezTo>
                <a:cubicBezTo>
                  <a:pt x="149" y="6"/>
                  <a:pt x="149" y="6"/>
                  <a:pt x="149" y="6"/>
                </a:cubicBezTo>
                <a:cubicBezTo>
                  <a:pt x="141" y="2"/>
                  <a:pt x="133" y="0"/>
                  <a:pt x="125" y="0"/>
                </a:cubicBezTo>
                <a:cubicBezTo>
                  <a:pt x="125" y="0"/>
                  <a:pt x="125" y="0"/>
                  <a:pt x="125" y="0"/>
                </a:cubicBezTo>
                <a:cubicBezTo>
                  <a:pt x="115" y="0"/>
                  <a:pt x="107" y="3"/>
                  <a:pt x="100" y="9"/>
                </a:cubicBezTo>
                <a:cubicBezTo>
                  <a:pt x="78" y="33"/>
                  <a:pt x="78" y="33"/>
                  <a:pt x="78" y="33"/>
                </a:cubicBezTo>
                <a:cubicBezTo>
                  <a:pt x="63" y="49"/>
                  <a:pt x="67" y="65"/>
                  <a:pt x="77" y="80"/>
                </a:cubicBezTo>
                <a:cubicBezTo>
                  <a:pt x="8" y="142"/>
                  <a:pt x="8" y="142"/>
                  <a:pt x="8" y="142"/>
                </a:cubicBezTo>
                <a:cubicBezTo>
                  <a:pt x="3" y="147"/>
                  <a:pt x="0" y="153"/>
                  <a:pt x="0" y="160"/>
                </a:cubicBezTo>
                <a:cubicBezTo>
                  <a:pt x="0" y="174"/>
                  <a:pt x="12" y="185"/>
                  <a:pt x="26" y="185"/>
                </a:cubicBezTo>
                <a:cubicBezTo>
                  <a:pt x="33" y="185"/>
                  <a:pt x="39" y="183"/>
                  <a:pt x="44" y="178"/>
                </a:cubicBezTo>
                <a:cubicBezTo>
                  <a:pt x="106" y="109"/>
                  <a:pt x="106" y="109"/>
                  <a:pt x="106" y="109"/>
                </a:cubicBezTo>
                <a:cubicBezTo>
                  <a:pt x="121" y="117"/>
                  <a:pt x="134" y="118"/>
                  <a:pt x="136" y="118"/>
                </a:cubicBezTo>
                <a:cubicBezTo>
                  <a:pt x="143" y="118"/>
                  <a:pt x="149" y="116"/>
                  <a:pt x="154" y="111"/>
                </a:cubicBezTo>
                <a:cubicBezTo>
                  <a:pt x="177" y="87"/>
                  <a:pt x="177" y="87"/>
                  <a:pt x="177" y="87"/>
                </a:cubicBezTo>
                <a:cubicBezTo>
                  <a:pt x="188" y="75"/>
                  <a:pt x="189" y="55"/>
                  <a:pt x="179" y="37"/>
                </a:cubicBezTo>
                <a:close/>
              </a:path>
            </a:pathLst>
          </a:custGeom>
          <a:solidFill>
            <a:schemeClr val="bg1">
              <a:lumMod val="95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164" name="Freeform 55">
            <a:extLst>
              <a:ext uri="{FF2B5EF4-FFF2-40B4-BE49-F238E27FC236}">
                <a16:creationId xmlns:a16="http://schemas.microsoft.com/office/drawing/2014/main" id="{525ACC9C-98B3-CA49-ABAF-77C6BE72A207}"/>
              </a:ext>
            </a:extLst>
          </p:cNvPr>
          <p:cNvSpPr>
            <a:spLocks noEditPoints="1"/>
          </p:cNvSpPr>
          <p:nvPr/>
        </p:nvSpPr>
        <p:spPr bwMode="auto">
          <a:xfrm>
            <a:off x="774555" y="2223467"/>
            <a:ext cx="397039" cy="438202"/>
          </a:xfrm>
          <a:custGeom>
            <a:avLst/>
            <a:gdLst>
              <a:gd name="T0" fmla="*/ 50 w 100"/>
              <a:gd name="T1" fmla="*/ 1 h 149"/>
              <a:gd name="T2" fmla="*/ 10 w 100"/>
              <a:gd name="T3" fmla="*/ 80 h 149"/>
              <a:gd name="T4" fmla="*/ 23 w 100"/>
              <a:gd name="T5" fmla="*/ 130 h 149"/>
              <a:gd name="T6" fmla="*/ 34 w 100"/>
              <a:gd name="T7" fmla="*/ 136 h 149"/>
              <a:gd name="T8" fmla="*/ 44 w 100"/>
              <a:gd name="T9" fmla="*/ 149 h 149"/>
              <a:gd name="T10" fmla="*/ 64 w 100"/>
              <a:gd name="T11" fmla="*/ 138 h 149"/>
              <a:gd name="T12" fmla="*/ 69 w 100"/>
              <a:gd name="T13" fmla="*/ 136 h 149"/>
              <a:gd name="T14" fmla="*/ 75 w 100"/>
              <a:gd name="T15" fmla="*/ 101 h 149"/>
              <a:gd name="T16" fmla="*/ 99 w 100"/>
              <a:gd name="T17" fmla="*/ 51 h 149"/>
              <a:gd name="T18" fmla="*/ 34 w 100"/>
              <a:gd name="T19" fmla="*/ 57 h 149"/>
              <a:gd name="T20" fmla="*/ 45 w 100"/>
              <a:gd name="T21" fmla="*/ 60 h 149"/>
              <a:gd name="T22" fmla="*/ 49 w 100"/>
              <a:gd name="T23" fmla="*/ 59 h 149"/>
              <a:gd name="T24" fmla="*/ 58 w 100"/>
              <a:gd name="T25" fmla="*/ 59 h 149"/>
              <a:gd name="T26" fmla="*/ 61 w 100"/>
              <a:gd name="T27" fmla="*/ 60 h 149"/>
              <a:gd name="T28" fmla="*/ 56 w 100"/>
              <a:gd name="T29" fmla="*/ 94 h 149"/>
              <a:gd name="T30" fmla="*/ 65 w 100"/>
              <a:gd name="T31" fmla="*/ 104 h 149"/>
              <a:gd name="T32" fmla="*/ 34 w 100"/>
              <a:gd name="T33" fmla="*/ 112 h 149"/>
              <a:gd name="T34" fmla="*/ 65 w 100"/>
              <a:gd name="T35" fmla="*/ 104 h 149"/>
              <a:gd name="T36" fmla="*/ 33 w 100"/>
              <a:gd name="T37" fmla="*/ 117 h 149"/>
              <a:gd name="T38" fmla="*/ 64 w 100"/>
              <a:gd name="T39" fmla="*/ 126 h 149"/>
              <a:gd name="T40" fmla="*/ 67 w 100"/>
              <a:gd name="T41" fmla="*/ 94 h 149"/>
              <a:gd name="T42" fmla="*/ 74 w 100"/>
              <a:gd name="T43" fmla="*/ 54 h 149"/>
              <a:gd name="T44" fmla="*/ 67 w 100"/>
              <a:gd name="T45" fmla="*/ 52 h 149"/>
              <a:gd name="T46" fmla="*/ 61 w 100"/>
              <a:gd name="T47" fmla="*/ 55 h 149"/>
              <a:gd name="T48" fmla="*/ 55 w 100"/>
              <a:gd name="T49" fmla="*/ 46 h 149"/>
              <a:gd name="T50" fmla="*/ 47 w 100"/>
              <a:gd name="T51" fmla="*/ 54 h 149"/>
              <a:gd name="T52" fmla="*/ 38 w 100"/>
              <a:gd name="T53" fmla="*/ 48 h 149"/>
              <a:gd name="T54" fmla="*/ 33 w 100"/>
              <a:gd name="T55" fmla="*/ 51 h 149"/>
              <a:gd name="T56" fmla="*/ 26 w 100"/>
              <a:gd name="T57" fmla="*/ 53 h 149"/>
              <a:gd name="T58" fmla="*/ 32 w 100"/>
              <a:gd name="T59" fmla="*/ 94 h 149"/>
              <a:gd name="T60" fmla="*/ 10 w 100"/>
              <a:gd name="T61" fmla="*/ 50 h 149"/>
              <a:gd name="T62" fmla="*/ 89 w 100"/>
              <a:gd name="T63" fmla="*/ 51 h 149"/>
              <a:gd name="T64" fmla="*/ 67 w 100"/>
              <a:gd name="T65" fmla="*/ 9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49">
                <a:moveTo>
                  <a:pt x="99" y="51"/>
                </a:moveTo>
                <a:cubicBezTo>
                  <a:pt x="100" y="23"/>
                  <a:pt x="78" y="1"/>
                  <a:pt x="50" y="1"/>
                </a:cubicBezTo>
                <a:cubicBezTo>
                  <a:pt x="23" y="0"/>
                  <a:pt x="1" y="22"/>
                  <a:pt x="0" y="50"/>
                </a:cubicBezTo>
                <a:cubicBezTo>
                  <a:pt x="0" y="61"/>
                  <a:pt x="4" y="71"/>
                  <a:pt x="10" y="80"/>
                </a:cubicBezTo>
                <a:cubicBezTo>
                  <a:pt x="15" y="87"/>
                  <a:pt x="20" y="93"/>
                  <a:pt x="24" y="100"/>
                </a:cubicBezTo>
                <a:cubicBezTo>
                  <a:pt x="23" y="130"/>
                  <a:pt x="23" y="130"/>
                  <a:pt x="23" y="130"/>
                </a:cubicBezTo>
                <a:cubicBezTo>
                  <a:pt x="23" y="133"/>
                  <a:pt x="26" y="135"/>
                  <a:pt x="28" y="135"/>
                </a:cubicBezTo>
                <a:cubicBezTo>
                  <a:pt x="34" y="136"/>
                  <a:pt x="34" y="136"/>
                  <a:pt x="34" y="136"/>
                </a:cubicBezTo>
                <a:cubicBezTo>
                  <a:pt x="34" y="138"/>
                  <a:pt x="34" y="138"/>
                  <a:pt x="34" y="138"/>
                </a:cubicBezTo>
                <a:cubicBezTo>
                  <a:pt x="34" y="144"/>
                  <a:pt x="38" y="148"/>
                  <a:pt x="44" y="149"/>
                </a:cubicBezTo>
                <a:cubicBezTo>
                  <a:pt x="53" y="149"/>
                  <a:pt x="53" y="149"/>
                  <a:pt x="53" y="149"/>
                </a:cubicBezTo>
                <a:cubicBezTo>
                  <a:pt x="59" y="149"/>
                  <a:pt x="64" y="144"/>
                  <a:pt x="64" y="138"/>
                </a:cubicBezTo>
                <a:cubicBezTo>
                  <a:pt x="64" y="136"/>
                  <a:pt x="64" y="136"/>
                  <a:pt x="64" y="136"/>
                </a:cubicBezTo>
                <a:cubicBezTo>
                  <a:pt x="69" y="136"/>
                  <a:pt x="69" y="136"/>
                  <a:pt x="69" y="136"/>
                </a:cubicBezTo>
                <a:cubicBezTo>
                  <a:pt x="72" y="136"/>
                  <a:pt x="74" y="134"/>
                  <a:pt x="74" y="131"/>
                </a:cubicBezTo>
                <a:cubicBezTo>
                  <a:pt x="75" y="101"/>
                  <a:pt x="75" y="101"/>
                  <a:pt x="75" y="101"/>
                </a:cubicBezTo>
                <a:cubicBezTo>
                  <a:pt x="79" y="94"/>
                  <a:pt x="83" y="88"/>
                  <a:pt x="88" y="81"/>
                </a:cubicBezTo>
                <a:cubicBezTo>
                  <a:pt x="95" y="73"/>
                  <a:pt x="99" y="62"/>
                  <a:pt x="99" y="51"/>
                </a:cubicBezTo>
                <a:close/>
                <a:moveTo>
                  <a:pt x="42" y="94"/>
                </a:moveTo>
                <a:cubicBezTo>
                  <a:pt x="34" y="57"/>
                  <a:pt x="34" y="57"/>
                  <a:pt x="34" y="57"/>
                </a:cubicBezTo>
                <a:cubicBezTo>
                  <a:pt x="39" y="53"/>
                  <a:pt x="39" y="53"/>
                  <a:pt x="39" y="53"/>
                </a:cubicBezTo>
                <a:cubicBezTo>
                  <a:pt x="45" y="60"/>
                  <a:pt x="45" y="60"/>
                  <a:pt x="45" y="60"/>
                </a:cubicBezTo>
                <a:cubicBezTo>
                  <a:pt x="46" y="60"/>
                  <a:pt x="47" y="60"/>
                  <a:pt x="47" y="60"/>
                </a:cubicBezTo>
                <a:cubicBezTo>
                  <a:pt x="48" y="60"/>
                  <a:pt x="49" y="60"/>
                  <a:pt x="49" y="59"/>
                </a:cubicBezTo>
                <a:cubicBezTo>
                  <a:pt x="55" y="53"/>
                  <a:pt x="55" y="53"/>
                  <a:pt x="55" y="53"/>
                </a:cubicBezTo>
                <a:cubicBezTo>
                  <a:pt x="58" y="59"/>
                  <a:pt x="58" y="59"/>
                  <a:pt x="58" y="59"/>
                </a:cubicBezTo>
                <a:cubicBezTo>
                  <a:pt x="58" y="60"/>
                  <a:pt x="59" y="60"/>
                  <a:pt x="60" y="60"/>
                </a:cubicBezTo>
                <a:cubicBezTo>
                  <a:pt x="60" y="60"/>
                  <a:pt x="61" y="60"/>
                  <a:pt x="61" y="60"/>
                </a:cubicBezTo>
                <a:cubicBezTo>
                  <a:pt x="65" y="59"/>
                  <a:pt x="65" y="59"/>
                  <a:pt x="65" y="59"/>
                </a:cubicBezTo>
                <a:cubicBezTo>
                  <a:pt x="56" y="94"/>
                  <a:pt x="56" y="94"/>
                  <a:pt x="56" y="94"/>
                </a:cubicBezTo>
                <a:lnTo>
                  <a:pt x="42" y="94"/>
                </a:lnTo>
                <a:close/>
                <a:moveTo>
                  <a:pt x="65" y="104"/>
                </a:moveTo>
                <a:cubicBezTo>
                  <a:pt x="65" y="113"/>
                  <a:pt x="65" y="113"/>
                  <a:pt x="65" y="113"/>
                </a:cubicBezTo>
                <a:cubicBezTo>
                  <a:pt x="34" y="112"/>
                  <a:pt x="34" y="112"/>
                  <a:pt x="34" y="112"/>
                </a:cubicBezTo>
                <a:cubicBezTo>
                  <a:pt x="34" y="104"/>
                  <a:pt x="34" y="104"/>
                  <a:pt x="34" y="104"/>
                </a:cubicBezTo>
                <a:lnTo>
                  <a:pt x="65" y="104"/>
                </a:lnTo>
                <a:close/>
                <a:moveTo>
                  <a:pt x="33" y="126"/>
                </a:moveTo>
                <a:cubicBezTo>
                  <a:pt x="33" y="117"/>
                  <a:pt x="33" y="117"/>
                  <a:pt x="33" y="117"/>
                </a:cubicBezTo>
                <a:cubicBezTo>
                  <a:pt x="64" y="118"/>
                  <a:pt x="64" y="118"/>
                  <a:pt x="64" y="118"/>
                </a:cubicBezTo>
                <a:cubicBezTo>
                  <a:pt x="64" y="126"/>
                  <a:pt x="64" y="126"/>
                  <a:pt x="64" y="126"/>
                </a:cubicBezTo>
                <a:lnTo>
                  <a:pt x="33" y="126"/>
                </a:lnTo>
                <a:close/>
                <a:moveTo>
                  <a:pt x="67" y="94"/>
                </a:moveTo>
                <a:cubicBezTo>
                  <a:pt x="64" y="94"/>
                  <a:pt x="64" y="94"/>
                  <a:pt x="64" y="94"/>
                </a:cubicBezTo>
                <a:cubicBezTo>
                  <a:pt x="74" y="54"/>
                  <a:pt x="74" y="54"/>
                  <a:pt x="74" y="54"/>
                </a:cubicBezTo>
                <a:cubicBezTo>
                  <a:pt x="74" y="52"/>
                  <a:pt x="73" y="49"/>
                  <a:pt x="71" y="49"/>
                </a:cubicBezTo>
                <a:cubicBezTo>
                  <a:pt x="69" y="49"/>
                  <a:pt x="67" y="50"/>
                  <a:pt x="67" y="52"/>
                </a:cubicBezTo>
                <a:cubicBezTo>
                  <a:pt x="67" y="53"/>
                  <a:pt x="67" y="53"/>
                  <a:pt x="67" y="53"/>
                </a:cubicBezTo>
                <a:cubicBezTo>
                  <a:pt x="61" y="55"/>
                  <a:pt x="61" y="55"/>
                  <a:pt x="61" y="55"/>
                </a:cubicBezTo>
                <a:cubicBezTo>
                  <a:pt x="57" y="47"/>
                  <a:pt x="57" y="47"/>
                  <a:pt x="57" y="47"/>
                </a:cubicBezTo>
                <a:cubicBezTo>
                  <a:pt x="57" y="46"/>
                  <a:pt x="56" y="46"/>
                  <a:pt x="55" y="46"/>
                </a:cubicBezTo>
                <a:cubicBezTo>
                  <a:pt x="55" y="46"/>
                  <a:pt x="54" y="46"/>
                  <a:pt x="53" y="47"/>
                </a:cubicBezTo>
                <a:cubicBezTo>
                  <a:pt x="47" y="54"/>
                  <a:pt x="47" y="54"/>
                  <a:pt x="47" y="54"/>
                </a:cubicBezTo>
                <a:cubicBezTo>
                  <a:pt x="41" y="49"/>
                  <a:pt x="41" y="49"/>
                  <a:pt x="41" y="49"/>
                </a:cubicBezTo>
                <a:cubicBezTo>
                  <a:pt x="40" y="48"/>
                  <a:pt x="39" y="48"/>
                  <a:pt x="38" y="48"/>
                </a:cubicBezTo>
                <a:cubicBezTo>
                  <a:pt x="33" y="51"/>
                  <a:pt x="33" y="51"/>
                  <a:pt x="33" y="51"/>
                </a:cubicBezTo>
                <a:cubicBezTo>
                  <a:pt x="33" y="51"/>
                  <a:pt x="33" y="51"/>
                  <a:pt x="33" y="51"/>
                </a:cubicBezTo>
                <a:cubicBezTo>
                  <a:pt x="32" y="49"/>
                  <a:pt x="30" y="48"/>
                  <a:pt x="28" y="48"/>
                </a:cubicBezTo>
                <a:cubicBezTo>
                  <a:pt x="26" y="49"/>
                  <a:pt x="25" y="51"/>
                  <a:pt x="26" y="53"/>
                </a:cubicBezTo>
                <a:cubicBezTo>
                  <a:pt x="34" y="94"/>
                  <a:pt x="34" y="94"/>
                  <a:pt x="34" y="94"/>
                </a:cubicBezTo>
                <a:cubicBezTo>
                  <a:pt x="32" y="94"/>
                  <a:pt x="32" y="94"/>
                  <a:pt x="32" y="94"/>
                </a:cubicBezTo>
                <a:cubicBezTo>
                  <a:pt x="28" y="87"/>
                  <a:pt x="23" y="80"/>
                  <a:pt x="18" y="74"/>
                </a:cubicBezTo>
                <a:cubicBezTo>
                  <a:pt x="13" y="67"/>
                  <a:pt x="10" y="59"/>
                  <a:pt x="10" y="50"/>
                </a:cubicBezTo>
                <a:cubicBezTo>
                  <a:pt x="10" y="28"/>
                  <a:pt x="28" y="10"/>
                  <a:pt x="50" y="11"/>
                </a:cubicBezTo>
                <a:cubicBezTo>
                  <a:pt x="72" y="11"/>
                  <a:pt x="90" y="29"/>
                  <a:pt x="89" y="51"/>
                </a:cubicBezTo>
                <a:cubicBezTo>
                  <a:pt x="89" y="60"/>
                  <a:pt x="86" y="68"/>
                  <a:pt x="81" y="75"/>
                </a:cubicBezTo>
                <a:cubicBezTo>
                  <a:pt x="76" y="81"/>
                  <a:pt x="71" y="88"/>
                  <a:pt x="67" y="94"/>
                </a:cubicBezTo>
                <a:close/>
              </a:path>
            </a:pathLst>
          </a:custGeom>
          <a:solidFill>
            <a:srgbClr val="F0F0F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45">
            <a:extLst>
              <a:ext uri="{FF2B5EF4-FFF2-40B4-BE49-F238E27FC236}">
                <a16:creationId xmlns:a16="http://schemas.microsoft.com/office/drawing/2014/main" id="{F40D3864-BB63-B14E-B4C4-6F3AE8294C94}"/>
              </a:ext>
            </a:extLst>
          </p:cNvPr>
          <p:cNvSpPr>
            <a:spLocks/>
          </p:cNvSpPr>
          <p:nvPr/>
        </p:nvSpPr>
        <p:spPr bwMode="auto">
          <a:xfrm>
            <a:off x="1894641" y="3068901"/>
            <a:ext cx="548948" cy="504740"/>
          </a:xfrm>
          <a:custGeom>
            <a:avLst/>
            <a:gdLst>
              <a:gd name="T0" fmla="*/ 58 w 97"/>
              <a:gd name="T1" fmla="*/ 6 h 90"/>
              <a:gd name="T2" fmla="*/ 45 w 97"/>
              <a:gd name="T3" fmla="*/ 24 h 90"/>
              <a:gd name="T4" fmla="*/ 43 w 97"/>
              <a:gd name="T5" fmla="*/ 28 h 90"/>
              <a:gd name="T6" fmla="*/ 39 w 97"/>
              <a:gd name="T7" fmla="*/ 27 h 90"/>
              <a:gd name="T8" fmla="*/ 16 w 97"/>
              <a:gd name="T9" fmla="*/ 27 h 90"/>
              <a:gd name="T10" fmla="*/ 6 w 97"/>
              <a:gd name="T11" fmla="*/ 60 h 90"/>
              <a:gd name="T12" fmla="*/ 12 w 97"/>
              <a:gd name="T13" fmla="*/ 67 h 90"/>
              <a:gd name="T14" fmla="*/ 73 w 97"/>
              <a:gd name="T15" fmla="*/ 87 h 90"/>
              <a:gd name="T16" fmla="*/ 93 w 97"/>
              <a:gd name="T17" fmla="*/ 25 h 90"/>
              <a:gd name="T18" fmla="*/ 90 w 97"/>
              <a:gd name="T19" fmla="*/ 16 h 90"/>
              <a:gd name="T20" fmla="*/ 58 w 97"/>
              <a:gd name="T21" fmla="*/ 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90">
                <a:moveTo>
                  <a:pt x="58" y="6"/>
                </a:moveTo>
                <a:cubicBezTo>
                  <a:pt x="51" y="10"/>
                  <a:pt x="46" y="16"/>
                  <a:pt x="45" y="24"/>
                </a:cubicBezTo>
                <a:cubicBezTo>
                  <a:pt x="45" y="24"/>
                  <a:pt x="45" y="27"/>
                  <a:pt x="43" y="28"/>
                </a:cubicBezTo>
                <a:cubicBezTo>
                  <a:pt x="41" y="29"/>
                  <a:pt x="39" y="27"/>
                  <a:pt x="39" y="27"/>
                </a:cubicBezTo>
                <a:cubicBezTo>
                  <a:pt x="32" y="24"/>
                  <a:pt x="24" y="24"/>
                  <a:pt x="16" y="27"/>
                </a:cubicBezTo>
                <a:cubicBezTo>
                  <a:pt x="5" y="33"/>
                  <a:pt x="0" y="48"/>
                  <a:pt x="6" y="60"/>
                </a:cubicBezTo>
                <a:cubicBezTo>
                  <a:pt x="8" y="62"/>
                  <a:pt x="9" y="65"/>
                  <a:pt x="12" y="67"/>
                </a:cubicBezTo>
                <a:cubicBezTo>
                  <a:pt x="27" y="82"/>
                  <a:pt x="65" y="90"/>
                  <a:pt x="73" y="87"/>
                </a:cubicBezTo>
                <a:cubicBezTo>
                  <a:pt x="81" y="82"/>
                  <a:pt x="97" y="46"/>
                  <a:pt x="93" y="25"/>
                </a:cubicBezTo>
                <a:cubicBezTo>
                  <a:pt x="93" y="22"/>
                  <a:pt x="92" y="19"/>
                  <a:pt x="90" y="16"/>
                </a:cubicBezTo>
                <a:cubicBezTo>
                  <a:pt x="84" y="4"/>
                  <a:pt x="70" y="0"/>
                  <a:pt x="58" y="6"/>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364688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F8E01B9D-5B0D-ED48-93FD-8B9F129C122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179"/>
          <a:stretch/>
        </p:blipFill>
        <p:spPr>
          <a:xfrm>
            <a:off x="-23924" y="220711"/>
            <a:ext cx="12384090" cy="1452195"/>
          </a:xfrm>
          <a:prstGeom prst="rect">
            <a:avLst/>
          </a:prstGeom>
        </p:spPr>
      </p:pic>
      <p:sp>
        <p:nvSpPr>
          <p:cNvPr id="53" name="Rectangle 21">
            <a:extLst>
              <a:ext uri="{FF2B5EF4-FFF2-40B4-BE49-F238E27FC236}">
                <a16:creationId xmlns:a16="http://schemas.microsoft.com/office/drawing/2014/main" id="{66D3B711-11C4-0A42-9372-FA79243F9672}"/>
              </a:ext>
            </a:extLst>
          </p:cNvPr>
          <p:cNvSpPr/>
          <p:nvPr/>
        </p:nvSpPr>
        <p:spPr bwMode="auto">
          <a:xfrm>
            <a:off x="-23925" y="209637"/>
            <a:ext cx="12239849" cy="1452196"/>
          </a:xfrm>
          <a:prstGeom prst="rect">
            <a:avLst/>
          </a:prstGeom>
          <a:solidFill>
            <a:schemeClr val="tx2">
              <a:lumMod val="60000"/>
              <a:lumOff val="40000"/>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2" name="Titel 1">
            <a:extLst>
              <a:ext uri="{FF2B5EF4-FFF2-40B4-BE49-F238E27FC236}">
                <a16:creationId xmlns:a16="http://schemas.microsoft.com/office/drawing/2014/main" id="{8DBD732E-255D-5641-835F-7822FEFB1A84}"/>
              </a:ext>
            </a:extLst>
          </p:cNvPr>
          <p:cNvSpPr>
            <a:spLocks noGrp="1"/>
          </p:cNvSpPr>
          <p:nvPr>
            <p:ph type="title"/>
          </p:nvPr>
        </p:nvSpPr>
        <p:spPr>
          <a:xfrm>
            <a:off x="373172" y="771272"/>
            <a:ext cx="11445656" cy="797082"/>
          </a:xfrm>
        </p:spPr>
        <p:txBody>
          <a:bodyPr/>
          <a:lstStyle/>
          <a:p>
            <a:r>
              <a:rPr lang="de-DE" dirty="0" err="1">
                <a:solidFill>
                  <a:schemeClr val="bg1"/>
                </a:solidFill>
                <a:latin typeface="Tahoma" panose="020B0604030504040204" pitchFamily="34" charset="0"/>
                <a:ea typeface="Tahoma" panose="020B0604030504040204" pitchFamily="34" charset="0"/>
                <a:cs typeface="Tahoma" panose="020B0604030504040204" pitchFamily="34" charset="0"/>
              </a:rPr>
              <a:t>Sprachstandsfeststellung</a:t>
            </a:r>
            <a:r>
              <a:rPr lang="de-DE" dirty="0">
                <a:solidFill>
                  <a:schemeClr val="bg1"/>
                </a:solidFill>
                <a:latin typeface="Tahoma" panose="020B0604030504040204" pitchFamily="34" charset="0"/>
                <a:ea typeface="Tahoma" panose="020B0604030504040204" pitchFamily="34" charset="0"/>
                <a:cs typeface="Tahoma" panose="020B0604030504040204" pitchFamily="34" charset="0"/>
              </a:rPr>
              <a:t> „Delfin“</a:t>
            </a:r>
          </a:p>
        </p:txBody>
      </p:sp>
      <p:sp>
        <p:nvSpPr>
          <p:cNvPr id="3" name="Textplatzhalter 2">
            <a:extLst>
              <a:ext uri="{FF2B5EF4-FFF2-40B4-BE49-F238E27FC236}">
                <a16:creationId xmlns:a16="http://schemas.microsoft.com/office/drawing/2014/main" id="{372F9084-4CAF-5A4B-B2B8-887F658B4A98}"/>
              </a:ext>
            </a:extLst>
          </p:cNvPr>
          <p:cNvSpPr>
            <a:spLocks noGrp="1"/>
          </p:cNvSpPr>
          <p:nvPr>
            <p:ph type="body" sz="quarter" idx="10"/>
          </p:nvPr>
        </p:nvSpPr>
        <p:spPr>
          <a:xfrm>
            <a:off x="373172" y="369140"/>
            <a:ext cx="5334843" cy="314948"/>
          </a:xfrm>
        </p:spPr>
        <p:txBody>
          <a:bodyPr/>
          <a:lstStyle/>
          <a:p>
            <a:r>
              <a:rPr lang="de-DE" dirty="0">
                <a:solidFill>
                  <a:schemeClr val="bg1"/>
                </a:solidFill>
              </a:rPr>
              <a:t>SPRACHE</a:t>
            </a:r>
          </a:p>
        </p:txBody>
      </p:sp>
      <p:grpSp>
        <p:nvGrpSpPr>
          <p:cNvPr id="35" name="Gruppieren 34">
            <a:extLst>
              <a:ext uri="{FF2B5EF4-FFF2-40B4-BE49-F238E27FC236}">
                <a16:creationId xmlns:a16="http://schemas.microsoft.com/office/drawing/2014/main" id="{F71E316C-7883-2C45-A8E5-52265394BD48}"/>
              </a:ext>
            </a:extLst>
          </p:cNvPr>
          <p:cNvGrpSpPr/>
          <p:nvPr/>
        </p:nvGrpSpPr>
        <p:grpSpPr>
          <a:xfrm>
            <a:off x="5382112" y="2313938"/>
            <a:ext cx="383575" cy="3318668"/>
            <a:chOff x="4818963" y="2170323"/>
            <a:chExt cx="383817" cy="3320759"/>
          </a:xfrm>
        </p:grpSpPr>
        <p:cxnSp>
          <p:nvCxnSpPr>
            <p:cNvPr id="36" name="Straight Connector 12">
              <a:extLst>
                <a:ext uri="{FF2B5EF4-FFF2-40B4-BE49-F238E27FC236}">
                  <a16:creationId xmlns:a16="http://schemas.microsoft.com/office/drawing/2014/main" id="{C0CE0D2F-9C6A-324C-AA54-45D6E0C7A8BA}"/>
                </a:ext>
              </a:extLst>
            </p:cNvPr>
            <p:cNvCxnSpPr>
              <a:cxnSpLocks/>
            </p:cNvCxnSpPr>
            <p:nvPr/>
          </p:nvCxnSpPr>
          <p:spPr bwMode="auto">
            <a:xfrm>
              <a:off x="4818963" y="3741668"/>
              <a:ext cx="360000" cy="0"/>
            </a:xfrm>
            <a:prstGeom prst="line">
              <a:avLst/>
            </a:prstGeom>
            <a:solidFill>
              <a:srgbClr val="FFFFFF"/>
            </a:solidFill>
            <a:ln w="19050" cap="flat" cmpd="sng" algn="ctr">
              <a:solidFill>
                <a:schemeClr val="tx2"/>
              </a:solidFill>
              <a:prstDash val="solid"/>
              <a:round/>
              <a:headEnd type="none" w="med" len="med"/>
              <a:tailEnd type="none" w="med" len="med"/>
            </a:ln>
            <a:effectLst/>
          </p:spPr>
        </p:cxnSp>
        <p:cxnSp>
          <p:nvCxnSpPr>
            <p:cNvPr id="37" name="Straight Connector 49">
              <a:extLst>
                <a:ext uri="{FF2B5EF4-FFF2-40B4-BE49-F238E27FC236}">
                  <a16:creationId xmlns:a16="http://schemas.microsoft.com/office/drawing/2014/main" id="{545E32B8-D236-9949-A410-0E19F69635AB}"/>
                </a:ext>
              </a:extLst>
            </p:cNvPr>
            <p:cNvCxnSpPr>
              <a:cxnSpLocks/>
            </p:cNvCxnSpPr>
            <p:nvPr/>
          </p:nvCxnSpPr>
          <p:spPr bwMode="auto">
            <a:xfrm>
              <a:off x="5202780" y="2170323"/>
              <a:ext cx="0" cy="3320759"/>
            </a:xfrm>
            <a:prstGeom prst="line">
              <a:avLst/>
            </a:prstGeom>
            <a:solidFill>
              <a:srgbClr val="FFFFFF"/>
            </a:solidFill>
            <a:ln w="19050" cap="flat" cmpd="sng" algn="ctr">
              <a:solidFill>
                <a:schemeClr val="tx2"/>
              </a:solidFill>
              <a:prstDash val="solid"/>
              <a:round/>
              <a:headEnd type="none" w="med" len="med"/>
              <a:tailEnd type="none" w="med" len="med"/>
            </a:ln>
            <a:effectLst/>
          </p:spPr>
        </p:cxnSp>
      </p:grpSp>
      <p:sp>
        <p:nvSpPr>
          <p:cNvPr id="51" name="Textfeld 50">
            <a:extLst>
              <a:ext uri="{FF2B5EF4-FFF2-40B4-BE49-F238E27FC236}">
                <a16:creationId xmlns:a16="http://schemas.microsoft.com/office/drawing/2014/main" id="{EEC16045-19E3-5A47-A3D6-D9B1960B22F9}"/>
              </a:ext>
            </a:extLst>
          </p:cNvPr>
          <p:cNvSpPr txBox="1"/>
          <p:nvPr/>
        </p:nvSpPr>
        <p:spPr>
          <a:xfrm>
            <a:off x="6068916" y="2763954"/>
            <a:ext cx="5118537" cy="2031325"/>
          </a:xfrm>
          <a:prstGeom prst="rect">
            <a:avLst/>
          </a:prstGeom>
          <a:noFill/>
        </p:spPr>
        <p:txBody>
          <a:bodyPr wrap="square" rtlCol="0">
            <a:spAutoFit/>
          </a:bodyPr>
          <a:lstStyle/>
          <a:p>
            <a:pPr marL="285750" indent="-285750">
              <a:buFont typeface="Arial" panose="020B0604020202020204" pitchFamily="34" charset="0"/>
              <a:buChar char="•"/>
            </a:pPr>
            <a:r>
              <a:rPr lang="de-DE" altLang="de-DE" dirty="0">
                <a:solidFill>
                  <a:schemeClr val="tx1">
                    <a:lumMod val="65000"/>
                    <a:lumOff val="35000"/>
                  </a:schemeClr>
                </a:solidFill>
                <a:latin typeface="Tahoma"/>
              </a:rPr>
              <a:t>für Kinder, </a:t>
            </a:r>
          </a:p>
          <a:p>
            <a:pPr marL="742950" lvl="1" indent="-285750">
              <a:buFont typeface="Wingdings" pitchFamily="2" charset="2"/>
              <a:buChar char="§"/>
            </a:pPr>
            <a:r>
              <a:rPr lang="de-DE" altLang="de-DE" dirty="0">
                <a:solidFill>
                  <a:schemeClr val="tx1">
                    <a:lumMod val="65000"/>
                    <a:lumOff val="35000"/>
                  </a:schemeClr>
                </a:solidFill>
                <a:latin typeface="Tahoma"/>
              </a:rPr>
              <a:t>die keine Kindertageseinrichtung besuchen</a:t>
            </a:r>
          </a:p>
          <a:p>
            <a:pPr marL="742950" lvl="1" indent="-285750">
              <a:buFont typeface="Wingdings" pitchFamily="2" charset="2"/>
              <a:buChar char="§"/>
            </a:pPr>
            <a:r>
              <a:rPr lang="de-DE" altLang="de-DE" dirty="0">
                <a:solidFill>
                  <a:schemeClr val="tx1">
                    <a:lumMod val="65000"/>
                    <a:lumOff val="35000"/>
                  </a:schemeClr>
                </a:solidFill>
                <a:latin typeface="Tahoma"/>
              </a:rPr>
              <a:t>deren Eltern der Bildungsdokumentation nicht zugestimmt haben</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zeitlicher Rahmen hierfür in der Regel etwa im Mai, Juni eines Jahres</a:t>
            </a:r>
          </a:p>
        </p:txBody>
      </p:sp>
      <p:sp>
        <p:nvSpPr>
          <p:cNvPr id="39" name="Freeform 29">
            <a:extLst>
              <a:ext uri="{FF2B5EF4-FFF2-40B4-BE49-F238E27FC236}">
                <a16:creationId xmlns:a16="http://schemas.microsoft.com/office/drawing/2014/main" id="{F3E047A1-394E-2241-8DCC-557DE8C7C5A3}"/>
              </a:ext>
            </a:extLst>
          </p:cNvPr>
          <p:cNvSpPr/>
          <p:nvPr/>
        </p:nvSpPr>
        <p:spPr>
          <a:xfrm>
            <a:off x="770123" y="1821335"/>
            <a:ext cx="3896466" cy="4431175"/>
          </a:xfrm>
          <a:custGeom>
            <a:avLst/>
            <a:gdLst>
              <a:gd name="connsiteX0" fmla="*/ 2013736 w 3787210"/>
              <a:gd name="connsiteY0" fmla="*/ 12 h 4303752"/>
              <a:gd name="connsiteX1" fmla="*/ 3089577 w 3787210"/>
              <a:gd name="connsiteY1" fmla="*/ 240598 h 4303752"/>
              <a:gd name="connsiteX2" fmla="*/ 3715515 w 3787210"/>
              <a:gd name="connsiteY2" fmla="*/ 961251 h 4303752"/>
              <a:gd name="connsiteX3" fmla="*/ 3489702 w 3787210"/>
              <a:gd name="connsiteY3" fmla="*/ 2326475 h 4303752"/>
              <a:gd name="connsiteX4" fmla="*/ 2894376 w 3787210"/>
              <a:gd name="connsiteY4" fmla="*/ 3373248 h 4303752"/>
              <a:gd name="connsiteX5" fmla="*/ 2884081 w 3787210"/>
              <a:gd name="connsiteY5" fmla="*/ 4192626 h 4303752"/>
              <a:gd name="connsiteX6" fmla="*/ 2921177 w 3787210"/>
              <a:gd name="connsiteY6" fmla="*/ 4303752 h 4303752"/>
              <a:gd name="connsiteX7" fmla="*/ 1346130 w 3787210"/>
              <a:gd name="connsiteY7" fmla="*/ 4303752 h 4303752"/>
              <a:gd name="connsiteX8" fmla="*/ 1338007 w 3787210"/>
              <a:gd name="connsiteY8" fmla="*/ 4240863 h 4303752"/>
              <a:gd name="connsiteX9" fmla="*/ 1251200 w 3787210"/>
              <a:gd name="connsiteY9" fmla="*/ 3942343 h 4303752"/>
              <a:gd name="connsiteX10" fmla="*/ 1097236 w 3787210"/>
              <a:gd name="connsiteY10" fmla="*/ 3739527 h 4303752"/>
              <a:gd name="connsiteX11" fmla="*/ 552692 w 3787210"/>
              <a:gd name="connsiteY11" fmla="*/ 3739325 h 4303752"/>
              <a:gd name="connsiteX12" fmla="*/ 351189 w 3787210"/>
              <a:gd name="connsiteY12" fmla="*/ 3572835 h 4303752"/>
              <a:gd name="connsiteX13" fmla="*/ 343626 w 3787210"/>
              <a:gd name="connsiteY13" fmla="*/ 3273151 h 4303752"/>
              <a:gd name="connsiteX14" fmla="*/ 212352 w 3787210"/>
              <a:gd name="connsiteY14" fmla="*/ 3065088 h 4303752"/>
              <a:gd name="connsiteX15" fmla="*/ 301128 w 3787210"/>
              <a:gd name="connsiteY15" fmla="*/ 2912522 h 4303752"/>
              <a:gd name="connsiteX16" fmla="*/ 151306 w 3787210"/>
              <a:gd name="connsiteY16" fmla="*/ 2753902 h 4303752"/>
              <a:gd name="connsiteX17" fmla="*/ 184620 w 3787210"/>
              <a:gd name="connsiteY17" fmla="*/ 2619095 h 4303752"/>
              <a:gd name="connsiteX18" fmla="*/ 257910 w 3787210"/>
              <a:gd name="connsiteY18" fmla="*/ 2437670 h 4303752"/>
              <a:gd name="connsiteX19" fmla="*/ 135820 w 3787210"/>
              <a:gd name="connsiteY19" fmla="*/ 2417288 h 4303752"/>
              <a:gd name="connsiteX20" fmla="*/ 3826 w 3787210"/>
              <a:gd name="connsiteY20" fmla="*/ 2370671 h 4303752"/>
              <a:gd name="connsiteX21" fmla="*/ 47584 w 3787210"/>
              <a:gd name="connsiteY21" fmla="*/ 2104891 h 4303752"/>
              <a:gd name="connsiteX22" fmla="*/ 255029 w 3787210"/>
              <a:gd name="connsiteY22" fmla="*/ 1811464 h 4303752"/>
              <a:gd name="connsiteX23" fmla="*/ 322197 w 3787210"/>
              <a:gd name="connsiteY23" fmla="*/ 1314817 h 4303752"/>
              <a:gd name="connsiteX24" fmla="*/ 698372 w 3787210"/>
              <a:gd name="connsiteY24" fmla="*/ 399420 h 4303752"/>
              <a:gd name="connsiteX25" fmla="*/ 1856609 w 3787210"/>
              <a:gd name="connsiteY25" fmla="*/ 3878 h 4303752"/>
              <a:gd name="connsiteX26" fmla="*/ 2013736 w 3787210"/>
              <a:gd name="connsiteY26" fmla="*/ 12 h 4303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87210" h="4303752">
                <a:moveTo>
                  <a:pt x="2013736" y="12"/>
                </a:moveTo>
                <a:cubicBezTo>
                  <a:pt x="2381874" y="-987"/>
                  <a:pt x="2758060" y="57307"/>
                  <a:pt x="3089577" y="240598"/>
                </a:cubicBezTo>
                <a:cubicBezTo>
                  <a:pt x="3374814" y="398209"/>
                  <a:pt x="3604229" y="646028"/>
                  <a:pt x="3715515" y="961251"/>
                </a:cubicBezTo>
                <a:cubicBezTo>
                  <a:pt x="3881723" y="1431057"/>
                  <a:pt x="3739284" y="1901268"/>
                  <a:pt x="3489702" y="2326475"/>
                </a:cubicBezTo>
                <a:cubicBezTo>
                  <a:pt x="3287478" y="2671161"/>
                  <a:pt x="3013946" y="2993043"/>
                  <a:pt x="2894376" y="3373248"/>
                </a:cubicBezTo>
                <a:cubicBezTo>
                  <a:pt x="2810395" y="3640238"/>
                  <a:pt x="2807204" y="3925306"/>
                  <a:pt x="2884081" y="4192626"/>
                </a:cubicBezTo>
                <a:lnTo>
                  <a:pt x="2921177" y="4303752"/>
                </a:lnTo>
                <a:lnTo>
                  <a:pt x="1346130" y="4303752"/>
                </a:lnTo>
                <a:lnTo>
                  <a:pt x="1338007" y="4240863"/>
                </a:lnTo>
                <a:cubicBezTo>
                  <a:pt x="1320720" y="4138462"/>
                  <a:pt x="1291581" y="4038303"/>
                  <a:pt x="1251200" y="3942343"/>
                </a:cubicBezTo>
                <a:cubicBezTo>
                  <a:pt x="1217346" y="3861822"/>
                  <a:pt x="1173227" y="3782512"/>
                  <a:pt x="1097236" y="3739527"/>
                </a:cubicBezTo>
                <a:cubicBezTo>
                  <a:pt x="930667" y="3645283"/>
                  <a:pt x="735287" y="3771615"/>
                  <a:pt x="552692" y="3739325"/>
                </a:cubicBezTo>
                <a:cubicBezTo>
                  <a:pt x="458873" y="3722777"/>
                  <a:pt x="375679" y="3663446"/>
                  <a:pt x="351189" y="3572835"/>
                </a:cubicBezTo>
                <a:cubicBezTo>
                  <a:pt x="324898" y="3474555"/>
                  <a:pt x="381261" y="3368606"/>
                  <a:pt x="343626" y="3273151"/>
                </a:cubicBezTo>
                <a:cubicBezTo>
                  <a:pt x="313013" y="3195456"/>
                  <a:pt x="226758" y="3148435"/>
                  <a:pt x="212352" y="3065088"/>
                </a:cubicBezTo>
                <a:cubicBezTo>
                  <a:pt x="201007" y="2999501"/>
                  <a:pt x="238282" y="2935125"/>
                  <a:pt x="301128" y="2912522"/>
                </a:cubicBezTo>
                <a:lnTo>
                  <a:pt x="151306" y="2753902"/>
                </a:lnTo>
                <a:cubicBezTo>
                  <a:pt x="159770" y="2708495"/>
                  <a:pt x="170935" y="2663492"/>
                  <a:pt x="184620" y="2619095"/>
                </a:cubicBezTo>
                <a:cubicBezTo>
                  <a:pt x="203888" y="2556737"/>
                  <a:pt x="228558" y="2495993"/>
                  <a:pt x="257910" y="2437670"/>
                </a:cubicBezTo>
                <a:cubicBezTo>
                  <a:pt x="216493" y="2434038"/>
                  <a:pt x="175797" y="2427177"/>
                  <a:pt x="135820" y="2417288"/>
                </a:cubicBezTo>
                <a:cubicBezTo>
                  <a:pt x="90441" y="2406189"/>
                  <a:pt x="46323" y="2390851"/>
                  <a:pt x="3826" y="2370671"/>
                </a:cubicBezTo>
                <a:cubicBezTo>
                  <a:pt x="-7879" y="2279656"/>
                  <a:pt x="7427" y="2187228"/>
                  <a:pt x="47584" y="2104891"/>
                </a:cubicBezTo>
                <a:cubicBezTo>
                  <a:pt x="100345" y="1996924"/>
                  <a:pt x="192363" y="1914183"/>
                  <a:pt x="255029" y="1811464"/>
                </a:cubicBezTo>
                <a:cubicBezTo>
                  <a:pt x="345787" y="1662530"/>
                  <a:pt x="370097" y="1482518"/>
                  <a:pt x="322197" y="1314817"/>
                </a:cubicBezTo>
                <a:cubicBezTo>
                  <a:pt x="297167" y="968112"/>
                  <a:pt x="437985" y="629682"/>
                  <a:pt x="698372" y="399420"/>
                </a:cubicBezTo>
                <a:cubicBezTo>
                  <a:pt x="1029888" y="106195"/>
                  <a:pt x="1450902" y="22445"/>
                  <a:pt x="1856609" y="3878"/>
                </a:cubicBezTo>
                <a:cubicBezTo>
                  <a:pt x="1908718" y="1507"/>
                  <a:pt x="1961145" y="154"/>
                  <a:pt x="2013736" y="12"/>
                </a:cubicBezTo>
                <a:close/>
              </a:path>
            </a:pathLst>
          </a:custGeom>
          <a:solidFill>
            <a:srgbClr val="D9D9D9"/>
          </a:solidFill>
          <a:ln w="12700">
            <a:miter lim="400000"/>
          </a:ln>
        </p:spPr>
        <p:txBody>
          <a:bodyPr wrap="square" lIns="0" tIns="0" rIns="0" bIns="0" anchor="ctr">
            <a:noAutofit/>
          </a:bodyPr>
          <a:lstStyle/>
          <a:p>
            <a:pPr lvl="0" algn="ctr">
              <a:defRPr sz="3200" b="0">
                <a:solidFill>
                  <a:srgbClr val="000000"/>
                </a:solidFill>
                <a:latin typeface="+mn-lt"/>
                <a:ea typeface="+mn-ea"/>
                <a:cs typeface="+mn-cs"/>
                <a:sym typeface="Helvetica Light"/>
              </a:defRPr>
            </a:pPr>
            <a:endParaRPr>
              <a:latin typeface="+mj-lt"/>
            </a:endParaRPr>
          </a:p>
        </p:txBody>
      </p:sp>
      <p:grpSp>
        <p:nvGrpSpPr>
          <p:cNvPr id="40" name="Gruppieren 39">
            <a:extLst>
              <a:ext uri="{FF2B5EF4-FFF2-40B4-BE49-F238E27FC236}">
                <a16:creationId xmlns:a16="http://schemas.microsoft.com/office/drawing/2014/main" id="{D9D6A5E7-1A17-2B4E-8937-AB9A52733D3D}"/>
              </a:ext>
            </a:extLst>
          </p:cNvPr>
          <p:cNvGrpSpPr/>
          <p:nvPr/>
        </p:nvGrpSpPr>
        <p:grpSpPr>
          <a:xfrm>
            <a:off x="1468575" y="2008017"/>
            <a:ext cx="2893218" cy="2248673"/>
            <a:chOff x="1055897" y="2343368"/>
            <a:chExt cx="3600188" cy="3094216"/>
          </a:xfrm>
        </p:grpSpPr>
        <p:sp>
          <p:nvSpPr>
            <p:cNvPr id="41" name="Shape 804">
              <a:extLst>
                <a:ext uri="{FF2B5EF4-FFF2-40B4-BE49-F238E27FC236}">
                  <a16:creationId xmlns:a16="http://schemas.microsoft.com/office/drawing/2014/main" id="{C0AD2F2A-A974-BC4F-9C43-69A962D3F645}"/>
                </a:ext>
              </a:extLst>
            </p:cNvPr>
            <p:cNvSpPr/>
            <p:nvPr/>
          </p:nvSpPr>
          <p:spPr>
            <a:xfrm>
              <a:off x="2334886" y="3679220"/>
              <a:ext cx="785441" cy="92864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6302"/>
                  </a:lnTo>
                  <a:lnTo>
                    <a:pt x="9494" y="21358"/>
                  </a:lnTo>
                  <a:cubicBezTo>
                    <a:pt x="9594" y="21327"/>
                    <a:pt x="9697" y="21307"/>
                    <a:pt x="9796" y="21274"/>
                  </a:cubicBezTo>
                  <a:cubicBezTo>
                    <a:pt x="9853" y="21387"/>
                    <a:pt x="9929" y="21489"/>
                    <a:pt x="9990" y="21600"/>
                  </a:cubicBezTo>
                  <a:lnTo>
                    <a:pt x="21600" y="0"/>
                  </a:lnTo>
                  <a:close/>
                </a:path>
              </a:pathLst>
            </a:custGeom>
            <a:solidFill>
              <a:schemeClr val="tx2"/>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42" name="Shape 805">
              <a:extLst>
                <a:ext uri="{FF2B5EF4-FFF2-40B4-BE49-F238E27FC236}">
                  <a16:creationId xmlns:a16="http://schemas.microsoft.com/office/drawing/2014/main" id="{9983DB26-E1C1-9F4B-A046-7C210EFE0AED}"/>
                </a:ext>
              </a:extLst>
            </p:cNvPr>
            <p:cNvSpPr/>
            <p:nvPr/>
          </p:nvSpPr>
          <p:spPr>
            <a:xfrm>
              <a:off x="1608098" y="2725541"/>
              <a:ext cx="725845" cy="1228267"/>
            </a:xfrm>
            <a:custGeom>
              <a:avLst/>
              <a:gdLst/>
              <a:ahLst/>
              <a:cxnLst>
                <a:cxn ang="0">
                  <a:pos x="wd2" y="hd2"/>
                </a:cxn>
                <a:cxn ang="5400000">
                  <a:pos x="wd2" y="hd2"/>
                </a:cxn>
                <a:cxn ang="10800000">
                  <a:pos x="wd2" y="hd2"/>
                </a:cxn>
                <a:cxn ang="16200000">
                  <a:pos x="wd2" y="hd2"/>
                </a:cxn>
              </a:cxnLst>
              <a:rect l="0" t="0" r="r" b="b"/>
              <a:pathLst>
                <a:path w="21600" h="21600" extrusionOk="0">
                  <a:moveTo>
                    <a:pt x="0" y="17070"/>
                  </a:moveTo>
                  <a:lnTo>
                    <a:pt x="5757" y="0"/>
                  </a:lnTo>
                  <a:lnTo>
                    <a:pt x="21600" y="21600"/>
                  </a:lnTo>
                  <a:lnTo>
                    <a:pt x="0" y="17070"/>
                  </a:lnTo>
                  <a:close/>
                </a:path>
              </a:pathLst>
            </a:custGeom>
            <a:solidFill>
              <a:srgbClr val="1A8CFF"/>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43" name="Shape 806">
              <a:extLst>
                <a:ext uri="{FF2B5EF4-FFF2-40B4-BE49-F238E27FC236}">
                  <a16:creationId xmlns:a16="http://schemas.microsoft.com/office/drawing/2014/main" id="{A202B13F-C8CD-7248-86C3-69561F2ECC8B}"/>
                </a:ext>
              </a:extLst>
            </p:cNvPr>
            <p:cNvSpPr/>
            <p:nvPr/>
          </p:nvSpPr>
          <p:spPr>
            <a:xfrm>
              <a:off x="1601123" y="3694307"/>
              <a:ext cx="727902" cy="636931"/>
            </a:xfrm>
            <a:custGeom>
              <a:avLst/>
              <a:gdLst/>
              <a:ahLst/>
              <a:cxnLst>
                <a:cxn ang="0">
                  <a:pos x="wd2" y="hd2"/>
                </a:cxn>
                <a:cxn ang="5400000">
                  <a:pos x="wd2" y="hd2"/>
                </a:cxn>
                <a:cxn ang="10800000">
                  <a:pos x="wd2" y="hd2"/>
                </a:cxn>
                <a:cxn ang="16200000">
                  <a:pos x="wd2" y="hd2"/>
                </a:cxn>
              </a:cxnLst>
              <a:rect l="0" t="0" r="r" b="b"/>
              <a:pathLst>
                <a:path w="21600" h="21600" extrusionOk="0">
                  <a:moveTo>
                    <a:pt x="10290" y="21600"/>
                  </a:moveTo>
                  <a:lnTo>
                    <a:pt x="21600" y="8774"/>
                  </a:lnTo>
                  <a:lnTo>
                    <a:pt x="0" y="0"/>
                  </a:lnTo>
                  <a:lnTo>
                    <a:pt x="10290" y="21600"/>
                  </a:lnTo>
                  <a:close/>
                </a:path>
              </a:pathLst>
            </a:custGeom>
            <a:solidFill>
              <a:schemeClr val="accent2"/>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44" name="Shape 807">
              <a:extLst>
                <a:ext uri="{FF2B5EF4-FFF2-40B4-BE49-F238E27FC236}">
                  <a16:creationId xmlns:a16="http://schemas.microsoft.com/office/drawing/2014/main" id="{16F601E5-3E91-5441-BE05-393DA900F2B8}"/>
                </a:ext>
              </a:extLst>
            </p:cNvPr>
            <p:cNvSpPr/>
            <p:nvPr/>
          </p:nvSpPr>
          <p:spPr>
            <a:xfrm>
              <a:off x="1796986" y="2727727"/>
              <a:ext cx="895128" cy="1230544"/>
            </a:xfrm>
            <a:custGeom>
              <a:avLst/>
              <a:gdLst/>
              <a:ahLst/>
              <a:cxnLst>
                <a:cxn ang="0">
                  <a:pos x="wd2" y="hd2"/>
                </a:cxn>
                <a:cxn ang="5400000">
                  <a:pos x="wd2" y="hd2"/>
                </a:cxn>
                <a:cxn ang="10800000">
                  <a:pos x="wd2" y="hd2"/>
                </a:cxn>
                <a:cxn ang="16200000">
                  <a:pos x="wd2" y="hd2"/>
                </a:cxn>
              </a:cxnLst>
              <a:rect l="0" t="0" r="r" b="b"/>
              <a:pathLst>
                <a:path w="21600" h="21600" extrusionOk="0">
                  <a:moveTo>
                    <a:pt x="21600" y="6635"/>
                  </a:moveTo>
                  <a:lnTo>
                    <a:pt x="12979" y="21600"/>
                  </a:lnTo>
                  <a:lnTo>
                    <a:pt x="0" y="0"/>
                  </a:lnTo>
                  <a:lnTo>
                    <a:pt x="21600" y="6635"/>
                  </a:lnTo>
                  <a:close/>
                </a:path>
              </a:pathLst>
            </a:custGeom>
            <a:solidFill>
              <a:schemeClr val="accent2"/>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45" name="Shape 808">
              <a:extLst>
                <a:ext uri="{FF2B5EF4-FFF2-40B4-BE49-F238E27FC236}">
                  <a16:creationId xmlns:a16="http://schemas.microsoft.com/office/drawing/2014/main" id="{1B8211B1-A057-174C-83E5-0B834B357FE3}"/>
                </a:ext>
              </a:extLst>
            </p:cNvPr>
            <p:cNvSpPr/>
            <p:nvPr/>
          </p:nvSpPr>
          <p:spPr>
            <a:xfrm>
              <a:off x="2686590" y="3103294"/>
              <a:ext cx="627515" cy="57878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5070" y="21600"/>
                  </a:lnTo>
                  <a:lnTo>
                    <a:pt x="21600" y="5863"/>
                  </a:lnTo>
                  <a:lnTo>
                    <a:pt x="0" y="0"/>
                  </a:lnTo>
                  <a:close/>
                </a:path>
              </a:pathLst>
            </a:custGeom>
            <a:solidFill>
              <a:schemeClr val="accent2"/>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46" name="Shape 809">
              <a:extLst>
                <a:ext uri="{FF2B5EF4-FFF2-40B4-BE49-F238E27FC236}">
                  <a16:creationId xmlns:a16="http://schemas.microsoft.com/office/drawing/2014/main" id="{0BEED52A-0994-6B42-BAD2-520AD15B5CC8}"/>
                </a:ext>
              </a:extLst>
            </p:cNvPr>
            <p:cNvSpPr/>
            <p:nvPr/>
          </p:nvSpPr>
          <p:spPr>
            <a:xfrm>
              <a:off x="2685673" y="2442075"/>
              <a:ext cx="619862" cy="82336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0779" y="0"/>
                  </a:lnTo>
                  <a:lnTo>
                    <a:pt x="0" y="17347"/>
                  </a:lnTo>
                  <a:lnTo>
                    <a:pt x="21600" y="21600"/>
                  </a:lnTo>
                  <a:close/>
                </a:path>
              </a:pathLst>
            </a:custGeom>
            <a:solidFill>
              <a:schemeClr val="accent1"/>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47" name="Shape 810">
              <a:extLst>
                <a:ext uri="{FF2B5EF4-FFF2-40B4-BE49-F238E27FC236}">
                  <a16:creationId xmlns:a16="http://schemas.microsoft.com/office/drawing/2014/main" id="{B408D943-7EE7-984F-A4E9-646B6B2C6005}"/>
                </a:ext>
              </a:extLst>
            </p:cNvPr>
            <p:cNvSpPr/>
            <p:nvPr/>
          </p:nvSpPr>
          <p:spPr>
            <a:xfrm>
              <a:off x="3118746" y="3258057"/>
              <a:ext cx="1041014" cy="579733"/>
            </a:xfrm>
            <a:custGeom>
              <a:avLst/>
              <a:gdLst/>
              <a:ahLst/>
              <a:cxnLst>
                <a:cxn ang="0">
                  <a:pos x="wd2" y="hd2"/>
                </a:cxn>
                <a:cxn ang="5400000">
                  <a:pos x="wd2" y="hd2"/>
                </a:cxn>
                <a:cxn ang="10800000">
                  <a:pos x="wd2" y="hd2"/>
                </a:cxn>
                <a:cxn ang="16200000">
                  <a:pos x="wd2" y="hd2"/>
                </a:cxn>
              </a:cxnLst>
              <a:rect l="0" t="0" r="r" b="b"/>
              <a:pathLst>
                <a:path w="21600" h="21600" extrusionOk="0">
                  <a:moveTo>
                    <a:pt x="0" y="15893"/>
                  </a:moveTo>
                  <a:lnTo>
                    <a:pt x="21600" y="21600"/>
                  </a:lnTo>
                  <a:lnTo>
                    <a:pt x="3830" y="0"/>
                  </a:lnTo>
                  <a:lnTo>
                    <a:pt x="0" y="15893"/>
                  </a:lnTo>
                  <a:close/>
                </a:path>
              </a:pathLst>
            </a:custGeom>
            <a:solidFill>
              <a:schemeClr val="accent1">
                <a:lumMod val="75000"/>
              </a:schemeClr>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48" name="Shape 811">
              <a:extLst>
                <a:ext uri="{FF2B5EF4-FFF2-40B4-BE49-F238E27FC236}">
                  <a16:creationId xmlns:a16="http://schemas.microsoft.com/office/drawing/2014/main" id="{0142DD2C-AABA-0843-9B9E-BE770A1873E6}"/>
                </a:ext>
              </a:extLst>
            </p:cNvPr>
            <p:cNvSpPr/>
            <p:nvPr/>
          </p:nvSpPr>
          <p:spPr>
            <a:xfrm>
              <a:off x="3299019" y="3253443"/>
              <a:ext cx="1048403" cy="526174"/>
            </a:xfrm>
            <a:custGeom>
              <a:avLst/>
              <a:gdLst/>
              <a:ahLst/>
              <a:cxnLst>
                <a:cxn ang="0">
                  <a:pos x="wd2" y="hd2"/>
                </a:cxn>
                <a:cxn ang="5400000">
                  <a:pos x="wd2" y="hd2"/>
                </a:cxn>
                <a:cxn ang="10800000">
                  <a:pos x="wd2" y="hd2"/>
                </a:cxn>
                <a:cxn ang="16200000">
                  <a:pos x="wd2" y="hd2"/>
                </a:cxn>
              </a:cxnLst>
              <a:rect l="0" t="0" r="r" b="b"/>
              <a:pathLst>
                <a:path w="21600" h="21600" extrusionOk="0">
                  <a:moveTo>
                    <a:pt x="15830" y="21600"/>
                  </a:moveTo>
                  <a:lnTo>
                    <a:pt x="21600" y="0"/>
                  </a:lnTo>
                  <a:lnTo>
                    <a:pt x="0" y="160"/>
                  </a:lnTo>
                  <a:lnTo>
                    <a:pt x="15830" y="21600"/>
                  </a:lnTo>
                  <a:close/>
                </a:path>
              </a:pathLst>
            </a:custGeom>
            <a:solidFill>
              <a:schemeClr val="tx2"/>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49" name="Shape 812">
              <a:extLst>
                <a:ext uri="{FF2B5EF4-FFF2-40B4-BE49-F238E27FC236}">
                  <a16:creationId xmlns:a16="http://schemas.microsoft.com/office/drawing/2014/main" id="{0BFDEAAC-97F8-FB42-9741-D26FA8095FB1}"/>
                </a:ext>
              </a:extLst>
            </p:cNvPr>
            <p:cNvSpPr/>
            <p:nvPr/>
          </p:nvSpPr>
          <p:spPr>
            <a:xfrm>
              <a:off x="3114743" y="3678948"/>
              <a:ext cx="957307" cy="98766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2271"/>
                  </a:lnTo>
                  <a:lnTo>
                    <a:pt x="12579" y="21600"/>
                  </a:lnTo>
                  <a:lnTo>
                    <a:pt x="0" y="0"/>
                  </a:lnTo>
                  <a:close/>
                </a:path>
              </a:pathLst>
            </a:custGeom>
            <a:solidFill>
              <a:schemeClr val="accent1">
                <a:lumMod val="50000"/>
              </a:schemeClr>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50" name="Shape 813">
              <a:extLst>
                <a:ext uri="{FF2B5EF4-FFF2-40B4-BE49-F238E27FC236}">
                  <a16:creationId xmlns:a16="http://schemas.microsoft.com/office/drawing/2014/main" id="{F607C0D7-91D1-6844-BEAE-F0C0BF5C9CF1}"/>
                </a:ext>
              </a:extLst>
            </p:cNvPr>
            <p:cNvSpPr/>
            <p:nvPr/>
          </p:nvSpPr>
          <p:spPr>
            <a:xfrm>
              <a:off x="3616465" y="3779869"/>
              <a:ext cx="699868" cy="96578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3726"/>
                  </a:lnTo>
                  <a:lnTo>
                    <a:pt x="13988" y="0"/>
                  </a:lnTo>
                  <a:lnTo>
                    <a:pt x="0" y="21600"/>
                  </a:lnTo>
                  <a:close/>
                </a:path>
              </a:pathLst>
            </a:custGeom>
            <a:solidFill>
              <a:schemeClr val="accent1"/>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52" name="Shape 814">
              <a:extLst>
                <a:ext uri="{FF2B5EF4-FFF2-40B4-BE49-F238E27FC236}">
                  <a16:creationId xmlns:a16="http://schemas.microsoft.com/office/drawing/2014/main" id="{0D33530D-E47A-8E4E-A0BF-801496C1AA35}"/>
                </a:ext>
              </a:extLst>
            </p:cNvPr>
            <p:cNvSpPr/>
            <p:nvPr/>
          </p:nvSpPr>
          <p:spPr>
            <a:xfrm>
              <a:off x="3114743" y="3676507"/>
              <a:ext cx="576026" cy="120142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17546"/>
                  </a:lnTo>
                  <a:lnTo>
                    <a:pt x="610" y="21600"/>
                  </a:lnTo>
                  <a:lnTo>
                    <a:pt x="0" y="0"/>
                  </a:lnTo>
                  <a:close/>
                </a:path>
              </a:pathLst>
            </a:custGeom>
            <a:solidFill>
              <a:schemeClr val="accent1">
                <a:lumMod val="75000"/>
              </a:schemeClr>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55" name="Shape 815">
              <a:extLst>
                <a:ext uri="{FF2B5EF4-FFF2-40B4-BE49-F238E27FC236}">
                  <a16:creationId xmlns:a16="http://schemas.microsoft.com/office/drawing/2014/main" id="{90A47DAE-898E-494E-8FA8-85BE7DAAF0B1}"/>
                </a:ext>
              </a:extLst>
            </p:cNvPr>
            <p:cNvSpPr/>
            <p:nvPr/>
          </p:nvSpPr>
          <p:spPr>
            <a:xfrm>
              <a:off x="3133988" y="4626608"/>
              <a:ext cx="539358" cy="450952"/>
            </a:xfrm>
            <a:custGeom>
              <a:avLst/>
              <a:gdLst/>
              <a:ahLst/>
              <a:cxnLst>
                <a:cxn ang="0">
                  <a:pos x="wd2" y="hd2"/>
                </a:cxn>
                <a:cxn ang="5400000">
                  <a:pos x="wd2" y="hd2"/>
                </a:cxn>
                <a:cxn ang="10800000">
                  <a:pos x="wd2" y="hd2"/>
                </a:cxn>
                <a:cxn ang="16200000">
                  <a:pos x="wd2" y="hd2"/>
                </a:cxn>
              </a:cxnLst>
              <a:rect l="0" t="0" r="r" b="b"/>
              <a:pathLst>
                <a:path w="21600" h="21600" extrusionOk="0">
                  <a:moveTo>
                    <a:pt x="0" y="12056"/>
                  </a:moveTo>
                  <a:lnTo>
                    <a:pt x="21600" y="0"/>
                  </a:lnTo>
                  <a:lnTo>
                    <a:pt x="18208" y="21600"/>
                  </a:lnTo>
                  <a:lnTo>
                    <a:pt x="0" y="12056"/>
                  </a:lnTo>
                  <a:close/>
                </a:path>
              </a:pathLst>
            </a:custGeom>
            <a:solidFill>
              <a:schemeClr val="accent1">
                <a:lumMod val="50000"/>
              </a:schemeClr>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56" name="Shape 816">
              <a:extLst>
                <a:ext uri="{FF2B5EF4-FFF2-40B4-BE49-F238E27FC236}">
                  <a16:creationId xmlns:a16="http://schemas.microsoft.com/office/drawing/2014/main" id="{9367EBD8-F565-E943-9432-121A191AC5E9}"/>
                </a:ext>
              </a:extLst>
            </p:cNvPr>
            <p:cNvSpPr/>
            <p:nvPr/>
          </p:nvSpPr>
          <p:spPr>
            <a:xfrm>
              <a:off x="2332517" y="3101735"/>
              <a:ext cx="791349" cy="85118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4661"/>
                  </a:lnTo>
                  <a:lnTo>
                    <a:pt x="9707" y="0"/>
                  </a:lnTo>
                  <a:lnTo>
                    <a:pt x="0" y="21600"/>
                  </a:lnTo>
                  <a:close/>
                </a:path>
              </a:pathLst>
            </a:custGeom>
            <a:solidFill>
              <a:srgbClr val="1A8CFF"/>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57" name="Shape 817">
              <a:extLst>
                <a:ext uri="{FF2B5EF4-FFF2-40B4-BE49-F238E27FC236}">
                  <a16:creationId xmlns:a16="http://schemas.microsoft.com/office/drawing/2014/main" id="{AFB26075-458E-3C40-A478-F14E551B1C06}"/>
                </a:ext>
              </a:extLst>
            </p:cNvPr>
            <p:cNvSpPr/>
            <p:nvPr/>
          </p:nvSpPr>
          <p:spPr>
            <a:xfrm>
              <a:off x="2695367" y="3669615"/>
              <a:ext cx="439268" cy="1210377"/>
            </a:xfrm>
            <a:custGeom>
              <a:avLst/>
              <a:gdLst/>
              <a:ahLst/>
              <a:cxnLst>
                <a:cxn ang="0">
                  <a:pos x="wd2" y="hd2"/>
                </a:cxn>
                <a:cxn ang="5400000">
                  <a:pos x="wd2" y="hd2"/>
                </a:cxn>
                <a:cxn ang="10800000">
                  <a:pos x="wd2" y="hd2"/>
                </a:cxn>
                <a:cxn ang="16200000">
                  <a:pos x="wd2" y="hd2"/>
                </a:cxn>
              </a:cxnLst>
              <a:rect l="0" t="0" r="r" b="b"/>
              <a:pathLst>
                <a:path w="21600" h="21536" extrusionOk="0">
                  <a:moveTo>
                    <a:pt x="21052" y="0"/>
                  </a:moveTo>
                  <a:lnTo>
                    <a:pt x="0" y="16662"/>
                  </a:lnTo>
                  <a:cubicBezTo>
                    <a:pt x="1830" y="18103"/>
                    <a:pt x="4623" y="19327"/>
                    <a:pt x="8132" y="20179"/>
                  </a:cubicBezTo>
                  <a:cubicBezTo>
                    <a:pt x="12121" y="21149"/>
                    <a:pt x="16792" y="21600"/>
                    <a:pt x="21481" y="21472"/>
                  </a:cubicBezTo>
                  <a:cubicBezTo>
                    <a:pt x="21520" y="21493"/>
                    <a:pt x="21561" y="21514"/>
                    <a:pt x="21600" y="21536"/>
                  </a:cubicBezTo>
                  <a:lnTo>
                    <a:pt x="21052" y="0"/>
                  </a:lnTo>
                  <a:close/>
                </a:path>
              </a:pathLst>
            </a:custGeom>
            <a:solidFill>
              <a:schemeClr val="accent1"/>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58" name="Shape 818">
              <a:extLst>
                <a:ext uri="{FF2B5EF4-FFF2-40B4-BE49-F238E27FC236}">
                  <a16:creationId xmlns:a16="http://schemas.microsoft.com/office/drawing/2014/main" id="{9C4FEB87-B778-AB42-AA23-2C67021E467F}"/>
                </a:ext>
              </a:extLst>
            </p:cNvPr>
            <p:cNvSpPr/>
            <p:nvPr/>
          </p:nvSpPr>
          <p:spPr>
            <a:xfrm>
              <a:off x="3587465" y="4392360"/>
              <a:ext cx="724865" cy="69493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464" y="7252"/>
                  </a:lnTo>
                  <a:lnTo>
                    <a:pt x="111" y="20642"/>
                  </a:lnTo>
                  <a:cubicBezTo>
                    <a:pt x="5506" y="20781"/>
                    <a:pt x="10749" y="18609"/>
                    <a:pt x="14767" y="14560"/>
                  </a:cubicBezTo>
                  <a:cubicBezTo>
                    <a:pt x="18523" y="10774"/>
                    <a:pt x="20934" y="5606"/>
                    <a:pt x="21600" y="0"/>
                  </a:cubicBezTo>
                  <a:close/>
                  <a:moveTo>
                    <a:pt x="94" y="20748"/>
                  </a:moveTo>
                  <a:lnTo>
                    <a:pt x="0" y="21277"/>
                  </a:lnTo>
                  <a:cubicBezTo>
                    <a:pt x="189" y="21393"/>
                    <a:pt x="384" y="21493"/>
                    <a:pt x="576" y="21600"/>
                  </a:cubicBezTo>
                  <a:cubicBezTo>
                    <a:pt x="412" y="21319"/>
                    <a:pt x="247" y="21037"/>
                    <a:pt x="94" y="20748"/>
                  </a:cubicBezTo>
                  <a:close/>
                </a:path>
              </a:pathLst>
            </a:custGeom>
            <a:solidFill>
              <a:schemeClr val="tx2">
                <a:lumMod val="50000"/>
              </a:schemeClr>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59" name="Shape 819">
              <a:extLst>
                <a:ext uri="{FF2B5EF4-FFF2-40B4-BE49-F238E27FC236}">
                  <a16:creationId xmlns:a16="http://schemas.microsoft.com/office/drawing/2014/main" id="{E18A1174-41B6-D342-9726-3392D1FB0ABF}"/>
                </a:ext>
              </a:extLst>
            </p:cNvPr>
            <p:cNvSpPr/>
            <p:nvPr/>
          </p:nvSpPr>
          <p:spPr>
            <a:xfrm>
              <a:off x="4063710" y="3256818"/>
              <a:ext cx="592375" cy="1132140"/>
            </a:xfrm>
            <a:custGeom>
              <a:avLst/>
              <a:gdLst/>
              <a:ahLst/>
              <a:cxnLst>
                <a:cxn ang="0">
                  <a:pos x="wd2" y="hd2"/>
                </a:cxn>
                <a:cxn ang="5400000">
                  <a:pos x="wd2" y="hd2"/>
                </a:cxn>
                <a:cxn ang="10800000">
                  <a:pos x="wd2" y="hd2"/>
                </a:cxn>
                <a:cxn ang="16200000">
                  <a:pos x="wd2" y="hd2"/>
                </a:cxn>
              </a:cxnLst>
              <a:rect l="0" t="0" r="r" b="b"/>
              <a:pathLst>
                <a:path w="21151" h="21600" extrusionOk="0">
                  <a:moveTo>
                    <a:pt x="10496" y="0"/>
                  </a:moveTo>
                  <a:cubicBezTo>
                    <a:pt x="10329" y="19"/>
                    <a:pt x="10166" y="28"/>
                    <a:pt x="9999" y="50"/>
                  </a:cubicBezTo>
                  <a:lnTo>
                    <a:pt x="0" y="10086"/>
                  </a:lnTo>
                  <a:lnTo>
                    <a:pt x="8897" y="21600"/>
                  </a:lnTo>
                  <a:cubicBezTo>
                    <a:pt x="8916" y="21516"/>
                    <a:pt x="8947" y="21433"/>
                    <a:pt x="8964" y="21348"/>
                  </a:cubicBezTo>
                  <a:cubicBezTo>
                    <a:pt x="16783" y="19275"/>
                    <a:pt x="21600" y="14662"/>
                    <a:pt x="21118" y="9716"/>
                  </a:cubicBezTo>
                  <a:cubicBezTo>
                    <a:pt x="20721" y="5632"/>
                    <a:pt x="16690" y="1975"/>
                    <a:pt x="10496" y="0"/>
                  </a:cubicBezTo>
                  <a:close/>
                </a:path>
              </a:pathLst>
            </a:custGeom>
            <a:solidFill>
              <a:schemeClr val="accent1">
                <a:lumMod val="50000"/>
              </a:schemeClr>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60" name="Shape 820">
              <a:extLst>
                <a:ext uri="{FF2B5EF4-FFF2-40B4-BE49-F238E27FC236}">
                  <a16:creationId xmlns:a16="http://schemas.microsoft.com/office/drawing/2014/main" id="{F7BEDE68-CD08-BA4D-9867-3E3744E09F9A}"/>
                </a:ext>
              </a:extLst>
            </p:cNvPr>
            <p:cNvSpPr/>
            <p:nvPr/>
          </p:nvSpPr>
          <p:spPr>
            <a:xfrm>
              <a:off x="2993972" y="2355179"/>
              <a:ext cx="774849" cy="903441"/>
            </a:xfrm>
            <a:custGeom>
              <a:avLst/>
              <a:gdLst/>
              <a:ahLst/>
              <a:cxnLst>
                <a:cxn ang="0">
                  <a:pos x="wd2" y="hd2"/>
                </a:cxn>
                <a:cxn ang="5400000">
                  <a:pos x="wd2" y="hd2"/>
                </a:cxn>
                <a:cxn ang="10800000">
                  <a:pos x="wd2" y="hd2"/>
                </a:cxn>
                <a:cxn ang="16200000">
                  <a:pos x="wd2" y="hd2"/>
                </a:cxn>
              </a:cxnLst>
              <a:rect l="0" t="0" r="r" b="b"/>
              <a:pathLst>
                <a:path w="21600" h="21583" extrusionOk="0">
                  <a:moveTo>
                    <a:pt x="8024" y="5"/>
                  </a:moveTo>
                  <a:cubicBezTo>
                    <a:pt x="5222" y="69"/>
                    <a:pt x="2464" y="773"/>
                    <a:pt x="5" y="2070"/>
                  </a:cubicBezTo>
                  <a:cubicBezTo>
                    <a:pt x="3" y="2068"/>
                    <a:pt x="2" y="2066"/>
                    <a:pt x="0" y="2065"/>
                  </a:cubicBezTo>
                  <a:lnTo>
                    <a:pt x="8562" y="21583"/>
                  </a:lnTo>
                  <a:lnTo>
                    <a:pt x="21600" y="5712"/>
                  </a:lnTo>
                  <a:cubicBezTo>
                    <a:pt x="18884" y="2687"/>
                    <a:pt x="15048" y="703"/>
                    <a:pt x="10831" y="153"/>
                  </a:cubicBezTo>
                  <a:cubicBezTo>
                    <a:pt x="9897" y="31"/>
                    <a:pt x="8957" y="-17"/>
                    <a:pt x="8024" y="5"/>
                  </a:cubicBezTo>
                  <a:close/>
                </a:path>
              </a:pathLst>
            </a:custGeom>
            <a:solidFill>
              <a:schemeClr val="accent2"/>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61" name="Shape 821">
              <a:extLst>
                <a:ext uri="{FF2B5EF4-FFF2-40B4-BE49-F238E27FC236}">
                  <a16:creationId xmlns:a16="http://schemas.microsoft.com/office/drawing/2014/main" id="{8E52B694-CDD9-494D-B106-0AFD38B65083}"/>
                </a:ext>
              </a:extLst>
            </p:cNvPr>
            <p:cNvSpPr/>
            <p:nvPr/>
          </p:nvSpPr>
          <p:spPr>
            <a:xfrm>
              <a:off x="3296480" y="2592702"/>
              <a:ext cx="1046883" cy="667519"/>
            </a:xfrm>
            <a:custGeom>
              <a:avLst/>
              <a:gdLst/>
              <a:ahLst/>
              <a:cxnLst>
                <a:cxn ang="0">
                  <a:pos x="wd2" y="hd2"/>
                </a:cxn>
                <a:cxn ang="5400000">
                  <a:pos x="wd2" y="hd2"/>
                </a:cxn>
                <a:cxn ang="10800000">
                  <a:pos x="wd2" y="hd2"/>
                </a:cxn>
                <a:cxn ang="16200000">
                  <a:pos x="wd2" y="hd2"/>
                </a:cxn>
              </a:cxnLst>
              <a:rect l="0" t="0" r="r" b="b"/>
              <a:pathLst>
                <a:path w="21600" h="21600" extrusionOk="0">
                  <a:moveTo>
                    <a:pt x="9719" y="0"/>
                  </a:moveTo>
                  <a:lnTo>
                    <a:pt x="0" y="21529"/>
                  </a:lnTo>
                  <a:lnTo>
                    <a:pt x="21577" y="21600"/>
                  </a:lnTo>
                  <a:lnTo>
                    <a:pt x="21600" y="21542"/>
                  </a:lnTo>
                  <a:cubicBezTo>
                    <a:pt x="21331" y="16110"/>
                    <a:pt x="19966" y="11003"/>
                    <a:pt x="17724" y="7077"/>
                  </a:cubicBezTo>
                  <a:cubicBezTo>
                    <a:pt x="15600" y="3357"/>
                    <a:pt x="12808" y="911"/>
                    <a:pt x="9784" y="123"/>
                  </a:cubicBezTo>
                  <a:cubicBezTo>
                    <a:pt x="9763" y="80"/>
                    <a:pt x="9740" y="42"/>
                    <a:pt x="9719" y="0"/>
                  </a:cubicBezTo>
                  <a:close/>
                </a:path>
              </a:pathLst>
            </a:custGeom>
            <a:solidFill>
              <a:srgbClr val="1A8CFF"/>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62" name="Shape 822">
              <a:extLst>
                <a:ext uri="{FF2B5EF4-FFF2-40B4-BE49-F238E27FC236}">
                  <a16:creationId xmlns:a16="http://schemas.microsoft.com/office/drawing/2014/main" id="{A00D6E77-2AE2-9443-9068-E1B7AEC962E2}"/>
                </a:ext>
              </a:extLst>
            </p:cNvPr>
            <p:cNvSpPr/>
            <p:nvPr/>
          </p:nvSpPr>
          <p:spPr>
            <a:xfrm>
              <a:off x="2330241" y="2343368"/>
              <a:ext cx="665776" cy="761579"/>
            </a:xfrm>
            <a:custGeom>
              <a:avLst/>
              <a:gdLst/>
              <a:ahLst/>
              <a:cxnLst>
                <a:cxn ang="0">
                  <a:pos x="wd2" y="hd2"/>
                </a:cxn>
                <a:cxn ang="5400000">
                  <a:pos x="wd2" y="hd2"/>
                </a:cxn>
                <a:cxn ang="10800000">
                  <a:pos x="wd2" y="hd2"/>
                </a:cxn>
                <a:cxn ang="16200000">
                  <a:pos x="wd2" y="hd2"/>
                </a:cxn>
              </a:cxnLst>
              <a:rect l="0" t="0" r="r" b="b"/>
              <a:pathLst>
                <a:path w="21600" h="21597" extrusionOk="0">
                  <a:moveTo>
                    <a:pt x="11768" y="0"/>
                  </a:moveTo>
                  <a:cubicBezTo>
                    <a:pt x="11272" y="-3"/>
                    <a:pt x="10775" y="10"/>
                    <a:pt x="10279" y="45"/>
                  </a:cubicBezTo>
                  <a:cubicBezTo>
                    <a:pt x="6489" y="318"/>
                    <a:pt x="2891" y="1718"/>
                    <a:pt x="0" y="4040"/>
                  </a:cubicBezTo>
                  <a:lnTo>
                    <a:pt x="11532" y="21597"/>
                  </a:lnTo>
                  <a:lnTo>
                    <a:pt x="21600" y="2763"/>
                  </a:lnTo>
                  <a:cubicBezTo>
                    <a:pt x="21580" y="2774"/>
                    <a:pt x="21559" y="2781"/>
                    <a:pt x="21540" y="2792"/>
                  </a:cubicBezTo>
                  <a:cubicBezTo>
                    <a:pt x="18629" y="985"/>
                    <a:pt x="15233" y="21"/>
                    <a:pt x="11768" y="0"/>
                  </a:cubicBezTo>
                  <a:close/>
                </a:path>
              </a:pathLst>
            </a:custGeom>
            <a:solidFill>
              <a:schemeClr val="accent2"/>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63" name="Shape 823">
              <a:extLst>
                <a:ext uri="{FF2B5EF4-FFF2-40B4-BE49-F238E27FC236}">
                  <a16:creationId xmlns:a16="http://schemas.microsoft.com/office/drawing/2014/main" id="{78DD2ACB-3039-F647-8711-C0E6EC9E10F6}"/>
                </a:ext>
              </a:extLst>
            </p:cNvPr>
            <p:cNvSpPr/>
            <p:nvPr/>
          </p:nvSpPr>
          <p:spPr>
            <a:xfrm>
              <a:off x="1795094" y="2484622"/>
              <a:ext cx="890613" cy="620325"/>
            </a:xfrm>
            <a:custGeom>
              <a:avLst/>
              <a:gdLst/>
              <a:ahLst/>
              <a:cxnLst>
                <a:cxn ang="0">
                  <a:pos x="wd2" y="hd2"/>
                </a:cxn>
                <a:cxn ang="5400000">
                  <a:pos x="wd2" y="hd2"/>
                </a:cxn>
                <a:cxn ang="10800000">
                  <a:pos x="wd2" y="hd2"/>
                </a:cxn>
                <a:cxn ang="16200000">
                  <a:pos x="wd2" y="hd2"/>
                </a:cxn>
              </a:cxnLst>
              <a:rect l="0" t="0" r="r" b="b"/>
              <a:pathLst>
                <a:path w="21600" h="21415" extrusionOk="0">
                  <a:moveTo>
                    <a:pt x="12988" y="29"/>
                  </a:moveTo>
                  <a:cubicBezTo>
                    <a:pt x="12985" y="33"/>
                    <a:pt x="12982" y="39"/>
                    <a:pt x="12979" y="43"/>
                  </a:cubicBezTo>
                  <a:cubicBezTo>
                    <a:pt x="10473" y="-185"/>
                    <a:pt x="7966" y="507"/>
                    <a:pt x="5669" y="2060"/>
                  </a:cubicBezTo>
                  <a:cubicBezTo>
                    <a:pt x="3538" y="3501"/>
                    <a:pt x="1639" y="5648"/>
                    <a:pt x="113" y="8346"/>
                  </a:cubicBezTo>
                  <a:cubicBezTo>
                    <a:pt x="75" y="8353"/>
                    <a:pt x="38" y="8366"/>
                    <a:pt x="0" y="8373"/>
                  </a:cubicBezTo>
                  <a:lnTo>
                    <a:pt x="21600" y="21415"/>
                  </a:lnTo>
                  <a:lnTo>
                    <a:pt x="12988" y="29"/>
                  </a:lnTo>
                  <a:close/>
                </a:path>
              </a:pathLst>
            </a:custGeom>
            <a:solidFill>
              <a:srgbClr val="B3D9FF"/>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64" name="Shape 824">
              <a:extLst>
                <a:ext uri="{FF2B5EF4-FFF2-40B4-BE49-F238E27FC236}">
                  <a16:creationId xmlns:a16="http://schemas.microsoft.com/office/drawing/2014/main" id="{35D5CD96-EF76-3445-91F0-4CCAD30261BB}"/>
                </a:ext>
              </a:extLst>
            </p:cNvPr>
            <p:cNvSpPr/>
            <p:nvPr/>
          </p:nvSpPr>
          <p:spPr>
            <a:xfrm>
              <a:off x="1150872" y="2725366"/>
              <a:ext cx="649796" cy="97346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590" y="8"/>
                    <a:pt x="21579" y="14"/>
                    <a:pt x="21569" y="22"/>
                  </a:cubicBezTo>
                  <a:cubicBezTo>
                    <a:pt x="9364" y="1118"/>
                    <a:pt x="237" y="8497"/>
                    <a:pt x="0" y="17258"/>
                  </a:cubicBezTo>
                  <a:lnTo>
                    <a:pt x="15343" y="21600"/>
                  </a:lnTo>
                  <a:lnTo>
                    <a:pt x="21600" y="0"/>
                  </a:lnTo>
                  <a:close/>
                </a:path>
              </a:pathLst>
            </a:custGeom>
            <a:solidFill>
              <a:srgbClr val="B3D9FF"/>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65" name="Shape 825">
              <a:extLst>
                <a:ext uri="{FF2B5EF4-FFF2-40B4-BE49-F238E27FC236}">
                  <a16:creationId xmlns:a16="http://schemas.microsoft.com/office/drawing/2014/main" id="{504F9D37-9445-E541-BEE8-CD0AA3C70B7E}"/>
                </a:ext>
              </a:extLst>
            </p:cNvPr>
            <p:cNvSpPr/>
            <p:nvPr/>
          </p:nvSpPr>
          <p:spPr>
            <a:xfrm>
              <a:off x="1953779" y="3951349"/>
              <a:ext cx="725422" cy="681597"/>
            </a:xfrm>
            <a:custGeom>
              <a:avLst/>
              <a:gdLst/>
              <a:ahLst/>
              <a:cxnLst>
                <a:cxn ang="0">
                  <a:pos x="wd2" y="hd2"/>
                </a:cxn>
                <a:cxn ang="5400000">
                  <a:pos x="wd2" y="hd2"/>
                </a:cxn>
                <a:cxn ang="10800000">
                  <a:pos x="wd2" y="hd2"/>
                </a:cxn>
                <a:cxn ang="16200000">
                  <a:pos x="wd2" y="hd2"/>
                </a:cxn>
              </a:cxnLst>
              <a:rect l="0" t="0" r="r" b="b"/>
              <a:pathLst>
                <a:path w="21600" h="21203" extrusionOk="0">
                  <a:moveTo>
                    <a:pt x="11320" y="0"/>
                  </a:moveTo>
                  <a:lnTo>
                    <a:pt x="0" y="11590"/>
                  </a:lnTo>
                  <a:cubicBezTo>
                    <a:pt x="2218" y="15474"/>
                    <a:pt x="5508" y="18439"/>
                    <a:pt x="9378" y="19993"/>
                  </a:cubicBezTo>
                  <a:cubicBezTo>
                    <a:pt x="13329" y="21580"/>
                    <a:pt x="17633" y="21600"/>
                    <a:pt x="21600" y="20086"/>
                  </a:cubicBezTo>
                  <a:lnTo>
                    <a:pt x="11320" y="0"/>
                  </a:lnTo>
                  <a:close/>
                </a:path>
              </a:pathLst>
            </a:custGeom>
            <a:solidFill>
              <a:schemeClr val="accent1">
                <a:lumMod val="75000"/>
              </a:schemeClr>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66" name="Shape 826">
              <a:extLst>
                <a:ext uri="{FF2B5EF4-FFF2-40B4-BE49-F238E27FC236}">
                  <a16:creationId xmlns:a16="http://schemas.microsoft.com/office/drawing/2014/main" id="{E0273F8A-78D0-3D44-B324-F32C72F09AF1}"/>
                </a:ext>
              </a:extLst>
            </p:cNvPr>
            <p:cNvSpPr/>
            <p:nvPr/>
          </p:nvSpPr>
          <p:spPr>
            <a:xfrm>
              <a:off x="1055897" y="3504622"/>
              <a:ext cx="560173" cy="762005"/>
            </a:xfrm>
            <a:custGeom>
              <a:avLst/>
              <a:gdLst/>
              <a:ahLst/>
              <a:cxnLst>
                <a:cxn ang="0">
                  <a:pos x="wd2" y="hd2"/>
                </a:cxn>
                <a:cxn ang="5400000">
                  <a:pos x="wd2" y="hd2"/>
                </a:cxn>
                <a:cxn ang="10800000">
                  <a:pos x="wd2" y="hd2"/>
                </a:cxn>
                <a:cxn ang="16200000">
                  <a:pos x="wd2" y="hd2"/>
                </a:cxn>
              </a:cxnLst>
              <a:rect l="0" t="0" r="r" b="b"/>
              <a:pathLst>
                <a:path w="20400" h="21600" extrusionOk="0">
                  <a:moveTo>
                    <a:pt x="3585" y="0"/>
                  </a:moveTo>
                  <a:lnTo>
                    <a:pt x="20400" y="5517"/>
                  </a:lnTo>
                  <a:lnTo>
                    <a:pt x="13510" y="21600"/>
                  </a:lnTo>
                  <a:cubicBezTo>
                    <a:pt x="9548" y="21176"/>
                    <a:pt x="5942" y="19468"/>
                    <a:pt x="3465" y="16842"/>
                  </a:cubicBezTo>
                  <a:cubicBezTo>
                    <a:pt x="-1200" y="11896"/>
                    <a:pt x="-1150" y="4900"/>
                    <a:pt x="3585" y="0"/>
                  </a:cubicBezTo>
                  <a:close/>
                </a:path>
              </a:pathLst>
            </a:custGeom>
            <a:solidFill>
              <a:schemeClr val="accent2"/>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67" name="Shape 827">
              <a:extLst>
                <a:ext uri="{FF2B5EF4-FFF2-40B4-BE49-F238E27FC236}">
                  <a16:creationId xmlns:a16="http://schemas.microsoft.com/office/drawing/2014/main" id="{7B27102F-802B-0E4A-B9A3-A051C18487EF}"/>
                </a:ext>
              </a:extLst>
            </p:cNvPr>
            <p:cNvSpPr/>
            <p:nvPr/>
          </p:nvSpPr>
          <p:spPr>
            <a:xfrm>
              <a:off x="3136336" y="4877928"/>
              <a:ext cx="767162" cy="55965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2743" y="7679"/>
                  </a:lnTo>
                  <a:cubicBezTo>
                    <a:pt x="13941" y="9961"/>
                    <a:pt x="15320" y="12023"/>
                    <a:pt x="16851" y="13819"/>
                  </a:cubicBezTo>
                  <a:cubicBezTo>
                    <a:pt x="18315" y="15538"/>
                    <a:pt x="19909" y="17002"/>
                    <a:pt x="21600" y="18183"/>
                  </a:cubicBezTo>
                  <a:lnTo>
                    <a:pt x="17430" y="21600"/>
                  </a:lnTo>
                  <a:cubicBezTo>
                    <a:pt x="13999" y="19071"/>
                    <a:pt x="10783" y="15954"/>
                    <a:pt x="7846" y="12314"/>
                  </a:cubicBezTo>
                  <a:cubicBezTo>
                    <a:pt x="4913" y="8677"/>
                    <a:pt x="2279" y="4545"/>
                    <a:pt x="0" y="0"/>
                  </a:cubicBezTo>
                  <a:close/>
                </a:path>
              </a:pathLst>
            </a:custGeom>
            <a:solidFill>
              <a:schemeClr val="tx2">
                <a:lumMod val="50000"/>
              </a:schemeClr>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sp>
          <p:nvSpPr>
            <p:cNvPr id="68" name="Shape 828">
              <a:extLst>
                <a:ext uri="{FF2B5EF4-FFF2-40B4-BE49-F238E27FC236}">
                  <a16:creationId xmlns:a16="http://schemas.microsoft.com/office/drawing/2014/main" id="{A072790A-643F-4546-AE4A-CE2B21612100}"/>
                </a:ext>
              </a:extLst>
            </p:cNvPr>
            <p:cNvSpPr/>
            <p:nvPr/>
          </p:nvSpPr>
          <p:spPr>
            <a:xfrm>
              <a:off x="1415036" y="3704408"/>
              <a:ext cx="531242" cy="754489"/>
            </a:xfrm>
            <a:custGeom>
              <a:avLst/>
              <a:gdLst/>
              <a:ahLst/>
              <a:cxnLst>
                <a:cxn ang="0">
                  <a:pos x="wd2" y="hd2"/>
                </a:cxn>
                <a:cxn ang="5400000">
                  <a:pos x="wd2" y="hd2"/>
                </a:cxn>
                <a:cxn ang="10800000">
                  <a:pos x="wd2" y="hd2"/>
                </a:cxn>
                <a:cxn ang="16200000">
                  <a:pos x="wd2" y="hd2"/>
                </a:cxn>
              </a:cxnLst>
              <a:rect l="0" t="0" r="r" b="b"/>
              <a:pathLst>
                <a:path w="21600" h="21405" extrusionOk="0">
                  <a:moveTo>
                    <a:pt x="0" y="15921"/>
                  </a:moveTo>
                  <a:lnTo>
                    <a:pt x="7669" y="0"/>
                  </a:lnTo>
                  <a:lnTo>
                    <a:pt x="21600" y="17825"/>
                  </a:lnTo>
                  <a:cubicBezTo>
                    <a:pt x="18969" y="20272"/>
                    <a:pt x="14913" y="21600"/>
                    <a:pt x="10736" y="21381"/>
                  </a:cubicBezTo>
                  <a:cubicBezTo>
                    <a:pt x="6113" y="21140"/>
                    <a:pt x="2016" y="19056"/>
                    <a:pt x="0" y="15921"/>
                  </a:cubicBezTo>
                  <a:close/>
                </a:path>
              </a:pathLst>
            </a:custGeom>
            <a:solidFill>
              <a:schemeClr val="tx2"/>
            </a:solidFill>
            <a:ln w="12700">
              <a:miter lim="400000"/>
            </a:ln>
          </p:spPr>
          <p:txBody>
            <a:bodyPr lIns="0" tIns="0" rIns="0" bIns="0" anchor="ctr"/>
            <a:lstStyle/>
            <a:p>
              <a:pPr lvl="0" algn="ctr">
                <a:defRPr sz="3200" b="0">
                  <a:solidFill>
                    <a:srgbClr val="000000"/>
                  </a:solidFill>
                  <a:latin typeface="+mn-lt"/>
                  <a:ea typeface="+mn-ea"/>
                  <a:cs typeface="+mn-cs"/>
                  <a:sym typeface="Helvetica Light"/>
                </a:defRPr>
              </a:pPr>
              <a:endParaRPr/>
            </a:p>
          </p:txBody>
        </p:sp>
      </p:grpSp>
      <p:grpSp>
        <p:nvGrpSpPr>
          <p:cNvPr id="5" name="Gruppieren 4">
            <a:extLst>
              <a:ext uri="{FF2B5EF4-FFF2-40B4-BE49-F238E27FC236}">
                <a16:creationId xmlns:a16="http://schemas.microsoft.com/office/drawing/2014/main" id="{58E8D50D-B5A5-794F-99D2-062936603D79}"/>
              </a:ext>
            </a:extLst>
          </p:cNvPr>
          <p:cNvGrpSpPr/>
          <p:nvPr/>
        </p:nvGrpSpPr>
        <p:grpSpPr>
          <a:xfrm>
            <a:off x="2105661" y="2293448"/>
            <a:ext cx="1869864" cy="1244081"/>
            <a:chOff x="1945392" y="2234781"/>
            <a:chExt cx="2150476" cy="1342932"/>
          </a:xfrm>
        </p:grpSpPr>
        <p:sp>
          <p:nvSpPr>
            <p:cNvPr id="70" name="Shape 216">
              <a:extLst>
                <a:ext uri="{FF2B5EF4-FFF2-40B4-BE49-F238E27FC236}">
                  <a16:creationId xmlns:a16="http://schemas.microsoft.com/office/drawing/2014/main" id="{5371BE90-F7B1-7A40-A2A8-4780054259A8}"/>
                </a:ext>
              </a:extLst>
            </p:cNvPr>
            <p:cNvSpPr/>
            <p:nvPr/>
          </p:nvSpPr>
          <p:spPr>
            <a:xfrm>
              <a:off x="2861496" y="2301299"/>
              <a:ext cx="1234372" cy="1120230"/>
            </a:xfrm>
            <a:custGeom>
              <a:avLst/>
              <a:gdLst/>
              <a:ahLst/>
              <a:cxnLst>
                <a:cxn ang="0">
                  <a:pos x="wd2" y="hd2"/>
                </a:cxn>
                <a:cxn ang="5400000">
                  <a:pos x="wd2" y="hd2"/>
                </a:cxn>
                <a:cxn ang="10800000">
                  <a:pos x="wd2" y="hd2"/>
                </a:cxn>
                <a:cxn ang="16200000">
                  <a:pos x="wd2" y="hd2"/>
                </a:cxn>
              </a:cxnLst>
              <a:rect l="0" t="0" r="r" b="b"/>
              <a:pathLst>
                <a:path w="21600" h="21600" extrusionOk="0">
                  <a:moveTo>
                    <a:pt x="9918" y="0"/>
                  </a:moveTo>
                  <a:lnTo>
                    <a:pt x="9918" y="771"/>
                  </a:lnTo>
                  <a:cubicBezTo>
                    <a:pt x="9222" y="832"/>
                    <a:pt x="8531" y="962"/>
                    <a:pt x="7857" y="1167"/>
                  </a:cubicBezTo>
                  <a:lnTo>
                    <a:pt x="7570" y="455"/>
                  </a:lnTo>
                  <a:lnTo>
                    <a:pt x="5936" y="1116"/>
                  </a:lnTo>
                  <a:lnTo>
                    <a:pt x="6224" y="1827"/>
                  </a:lnTo>
                  <a:cubicBezTo>
                    <a:pt x="5558" y="2167"/>
                    <a:pt x="4924" y="2587"/>
                    <a:pt x="4331" y="3085"/>
                  </a:cubicBezTo>
                  <a:lnTo>
                    <a:pt x="3785" y="2538"/>
                  </a:lnTo>
                  <a:lnTo>
                    <a:pt x="2538" y="3785"/>
                  </a:lnTo>
                  <a:lnTo>
                    <a:pt x="3085" y="4331"/>
                  </a:lnTo>
                  <a:cubicBezTo>
                    <a:pt x="2626" y="4877"/>
                    <a:pt x="2231" y="5458"/>
                    <a:pt x="1907" y="6067"/>
                  </a:cubicBezTo>
                  <a:lnTo>
                    <a:pt x="1201" y="5769"/>
                  </a:lnTo>
                  <a:lnTo>
                    <a:pt x="512" y="7391"/>
                  </a:lnTo>
                  <a:lnTo>
                    <a:pt x="1224" y="7692"/>
                  </a:lnTo>
                  <a:cubicBezTo>
                    <a:pt x="989" y="8418"/>
                    <a:pt x="837" y="9165"/>
                    <a:pt x="771" y="9918"/>
                  </a:cubicBezTo>
                  <a:lnTo>
                    <a:pt x="0" y="9918"/>
                  </a:lnTo>
                  <a:lnTo>
                    <a:pt x="0" y="11682"/>
                  </a:lnTo>
                  <a:lnTo>
                    <a:pt x="771" y="11682"/>
                  </a:lnTo>
                  <a:cubicBezTo>
                    <a:pt x="832" y="12378"/>
                    <a:pt x="962" y="13069"/>
                    <a:pt x="1167" y="13743"/>
                  </a:cubicBezTo>
                  <a:lnTo>
                    <a:pt x="455" y="14030"/>
                  </a:lnTo>
                  <a:lnTo>
                    <a:pt x="1116" y="15664"/>
                  </a:lnTo>
                  <a:lnTo>
                    <a:pt x="1827" y="15376"/>
                  </a:lnTo>
                  <a:cubicBezTo>
                    <a:pt x="2167" y="16042"/>
                    <a:pt x="2587" y="16676"/>
                    <a:pt x="3085" y="17269"/>
                  </a:cubicBezTo>
                  <a:lnTo>
                    <a:pt x="2538" y="17815"/>
                  </a:lnTo>
                  <a:lnTo>
                    <a:pt x="3785" y="19062"/>
                  </a:lnTo>
                  <a:lnTo>
                    <a:pt x="4331" y="18515"/>
                  </a:lnTo>
                  <a:cubicBezTo>
                    <a:pt x="4877" y="18974"/>
                    <a:pt x="5458" y="19369"/>
                    <a:pt x="6067" y="19693"/>
                  </a:cubicBezTo>
                  <a:lnTo>
                    <a:pt x="5769" y="20399"/>
                  </a:lnTo>
                  <a:lnTo>
                    <a:pt x="7391" y="21088"/>
                  </a:lnTo>
                  <a:lnTo>
                    <a:pt x="7692" y="20376"/>
                  </a:lnTo>
                  <a:cubicBezTo>
                    <a:pt x="8418" y="20611"/>
                    <a:pt x="9165" y="20763"/>
                    <a:pt x="9918" y="20829"/>
                  </a:cubicBezTo>
                  <a:lnTo>
                    <a:pt x="9918" y="21600"/>
                  </a:lnTo>
                  <a:lnTo>
                    <a:pt x="11682" y="21600"/>
                  </a:lnTo>
                  <a:lnTo>
                    <a:pt x="11682" y="20829"/>
                  </a:lnTo>
                  <a:cubicBezTo>
                    <a:pt x="12378" y="20768"/>
                    <a:pt x="13069" y="20638"/>
                    <a:pt x="13743" y="20433"/>
                  </a:cubicBezTo>
                  <a:lnTo>
                    <a:pt x="14030" y="21145"/>
                  </a:lnTo>
                  <a:lnTo>
                    <a:pt x="15664" y="20484"/>
                  </a:lnTo>
                  <a:lnTo>
                    <a:pt x="15376" y="19773"/>
                  </a:lnTo>
                  <a:cubicBezTo>
                    <a:pt x="16042" y="19433"/>
                    <a:pt x="16676" y="19013"/>
                    <a:pt x="17269" y="18515"/>
                  </a:cubicBezTo>
                  <a:lnTo>
                    <a:pt x="17815" y="19062"/>
                  </a:lnTo>
                  <a:lnTo>
                    <a:pt x="19062" y="17815"/>
                  </a:lnTo>
                  <a:lnTo>
                    <a:pt x="18515" y="17269"/>
                  </a:lnTo>
                  <a:cubicBezTo>
                    <a:pt x="18974" y="16723"/>
                    <a:pt x="19369" y="16142"/>
                    <a:pt x="19693" y="15533"/>
                  </a:cubicBezTo>
                  <a:lnTo>
                    <a:pt x="20399" y="15831"/>
                  </a:lnTo>
                  <a:lnTo>
                    <a:pt x="21088" y="14209"/>
                  </a:lnTo>
                  <a:lnTo>
                    <a:pt x="20376" y="13908"/>
                  </a:lnTo>
                  <a:cubicBezTo>
                    <a:pt x="20611" y="13182"/>
                    <a:pt x="20763" y="12435"/>
                    <a:pt x="20829" y="11682"/>
                  </a:cubicBezTo>
                  <a:lnTo>
                    <a:pt x="21600" y="11682"/>
                  </a:lnTo>
                  <a:lnTo>
                    <a:pt x="21600" y="9918"/>
                  </a:lnTo>
                  <a:lnTo>
                    <a:pt x="20829" y="9918"/>
                  </a:lnTo>
                  <a:cubicBezTo>
                    <a:pt x="20768" y="9222"/>
                    <a:pt x="20638" y="8531"/>
                    <a:pt x="20433" y="7857"/>
                  </a:cubicBezTo>
                  <a:lnTo>
                    <a:pt x="21145" y="7570"/>
                  </a:lnTo>
                  <a:lnTo>
                    <a:pt x="20484" y="5936"/>
                  </a:lnTo>
                  <a:lnTo>
                    <a:pt x="19773" y="6224"/>
                  </a:lnTo>
                  <a:cubicBezTo>
                    <a:pt x="19433" y="5558"/>
                    <a:pt x="19013" y="4924"/>
                    <a:pt x="18515" y="4331"/>
                  </a:cubicBezTo>
                  <a:lnTo>
                    <a:pt x="19062" y="3785"/>
                  </a:lnTo>
                  <a:lnTo>
                    <a:pt x="17815" y="2538"/>
                  </a:lnTo>
                  <a:lnTo>
                    <a:pt x="17269" y="3085"/>
                  </a:lnTo>
                  <a:cubicBezTo>
                    <a:pt x="16723" y="2626"/>
                    <a:pt x="16142" y="2231"/>
                    <a:pt x="15533" y="1907"/>
                  </a:cubicBezTo>
                  <a:lnTo>
                    <a:pt x="15831" y="1201"/>
                  </a:lnTo>
                  <a:lnTo>
                    <a:pt x="14209" y="512"/>
                  </a:lnTo>
                  <a:lnTo>
                    <a:pt x="13908" y="1224"/>
                  </a:lnTo>
                  <a:cubicBezTo>
                    <a:pt x="13182" y="989"/>
                    <a:pt x="12435" y="837"/>
                    <a:pt x="11682" y="771"/>
                  </a:cubicBezTo>
                  <a:lnTo>
                    <a:pt x="11682" y="0"/>
                  </a:lnTo>
                  <a:lnTo>
                    <a:pt x="9918" y="0"/>
                  </a:lnTo>
                  <a:close/>
                </a:path>
              </a:pathLst>
            </a:custGeom>
            <a:solidFill>
              <a:schemeClr val="bg1">
                <a:alpha val="50000"/>
              </a:schemeClr>
            </a:solidFill>
            <a:ln w="12700" cap="flat" cmpd="sng">
              <a:solidFill>
                <a:schemeClr val="bg1"/>
              </a:solidFill>
              <a:prstDash val="solid"/>
              <a:miter lim="400000"/>
            </a:ln>
            <a:effectLst/>
          </p:spPr>
          <p:txBody>
            <a:bodyPr wrap="square" lIns="0" tIns="0" rIns="0" bIns="0" numCol="1" anchor="ctr">
              <a:noAutofit/>
            </a:bodyPr>
            <a:lstStyle/>
            <a:p>
              <a:pPr lvl="0">
                <a:defRPr sz="3200"/>
              </a:pPr>
              <a:endParaRPr>
                <a:latin typeface="+mj-lt"/>
              </a:endParaRPr>
            </a:p>
          </p:txBody>
        </p:sp>
        <p:sp>
          <p:nvSpPr>
            <p:cNvPr id="71" name="Shape 217">
              <a:extLst>
                <a:ext uri="{FF2B5EF4-FFF2-40B4-BE49-F238E27FC236}">
                  <a16:creationId xmlns:a16="http://schemas.microsoft.com/office/drawing/2014/main" id="{F3FB1E32-E3BD-544C-9B29-E15A62C7C01B}"/>
                </a:ext>
              </a:extLst>
            </p:cNvPr>
            <p:cNvSpPr/>
            <p:nvPr/>
          </p:nvSpPr>
          <p:spPr>
            <a:xfrm>
              <a:off x="2973050" y="2402536"/>
              <a:ext cx="1011266" cy="91775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alpha val="36000"/>
              </a:schemeClr>
            </a:solidFill>
            <a:ln w="12700" cap="flat">
              <a:solidFill>
                <a:schemeClr val="accent5">
                  <a:alpha val="70000"/>
                </a:schemeClr>
              </a:solidFill>
              <a:prstDash val="solid"/>
              <a:miter lim="400000"/>
            </a:ln>
            <a:effectLst/>
          </p:spPr>
          <p:txBody>
            <a:bodyPr wrap="square" lIns="0" tIns="0" rIns="0" bIns="0" numCol="1" anchor="ctr">
              <a:noAutofit/>
            </a:bodyPr>
            <a:lstStyle/>
            <a:p>
              <a:pPr lvl="0">
                <a:defRPr sz="3200"/>
              </a:pPr>
              <a:endParaRPr dirty="0">
                <a:latin typeface="+mj-lt"/>
              </a:endParaRPr>
            </a:p>
          </p:txBody>
        </p:sp>
        <p:sp>
          <p:nvSpPr>
            <p:cNvPr id="72" name="Shape 224">
              <a:extLst>
                <a:ext uri="{FF2B5EF4-FFF2-40B4-BE49-F238E27FC236}">
                  <a16:creationId xmlns:a16="http://schemas.microsoft.com/office/drawing/2014/main" id="{2F753D9D-2A81-1540-9A98-4242C5F37D9F}"/>
                </a:ext>
              </a:extLst>
            </p:cNvPr>
            <p:cNvSpPr/>
            <p:nvPr/>
          </p:nvSpPr>
          <p:spPr>
            <a:xfrm>
              <a:off x="2394865" y="3048496"/>
              <a:ext cx="583140" cy="529217"/>
            </a:xfrm>
            <a:custGeom>
              <a:avLst/>
              <a:gdLst/>
              <a:ahLst/>
              <a:cxnLst>
                <a:cxn ang="0">
                  <a:pos x="wd2" y="hd2"/>
                </a:cxn>
                <a:cxn ang="5400000">
                  <a:pos x="wd2" y="hd2"/>
                </a:cxn>
                <a:cxn ang="10800000">
                  <a:pos x="wd2" y="hd2"/>
                </a:cxn>
                <a:cxn ang="16200000">
                  <a:pos x="wd2" y="hd2"/>
                </a:cxn>
              </a:cxnLst>
              <a:rect l="0" t="0" r="r" b="b"/>
              <a:pathLst>
                <a:path w="21600" h="21600" extrusionOk="0">
                  <a:moveTo>
                    <a:pt x="8991" y="0"/>
                  </a:moveTo>
                  <a:lnTo>
                    <a:pt x="8991" y="863"/>
                  </a:lnTo>
                  <a:cubicBezTo>
                    <a:pt x="7603" y="1114"/>
                    <a:pt x="6259" y="1659"/>
                    <a:pt x="5054" y="2494"/>
                  </a:cubicBezTo>
                  <a:lnTo>
                    <a:pt x="4444" y="1883"/>
                  </a:lnTo>
                  <a:lnTo>
                    <a:pt x="1883" y="4444"/>
                  </a:lnTo>
                  <a:lnTo>
                    <a:pt x="2494" y="5054"/>
                  </a:lnTo>
                  <a:cubicBezTo>
                    <a:pt x="1659" y="6259"/>
                    <a:pt x="1114" y="7603"/>
                    <a:pt x="863" y="8991"/>
                  </a:cubicBezTo>
                  <a:lnTo>
                    <a:pt x="0" y="8991"/>
                  </a:lnTo>
                  <a:lnTo>
                    <a:pt x="0" y="12609"/>
                  </a:lnTo>
                  <a:lnTo>
                    <a:pt x="863" y="12609"/>
                  </a:lnTo>
                  <a:cubicBezTo>
                    <a:pt x="1114" y="13997"/>
                    <a:pt x="1659" y="15341"/>
                    <a:pt x="2494" y="16546"/>
                  </a:cubicBezTo>
                  <a:lnTo>
                    <a:pt x="1883" y="17156"/>
                  </a:lnTo>
                  <a:lnTo>
                    <a:pt x="4444" y="19717"/>
                  </a:lnTo>
                  <a:lnTo>
                    <a:pt x="5054" y="19106"/>
                  </a:lnTo>
                  <a:cubicBezTo>
                    <a:pt x="6259" y="19941"/>
                    <a:pt x="7603" y="20486"/>
                    <a:pt x="8991" y="20737"/>
                  </a:cubicBezTo>
                  <a:lnTo>
                    <a:pt x="8991" y="21600"/>
                  </a:lnTo>
                  <a:lnTo>
                    <a:pt x="12609" y="21600"/>
                  </a:lnTo>
                  <a:lnTo>
                    <a:pt x="12609" y="20737"/>
                  </a:lnTo>
                  <a:cubicBezTo>
                    <a:pt x="13997" y="20486"/>
                    <a:pt x="15341" y="19941"/>
                    <a:pt x="16546" y="19106"/>
                  </a:cubicBezTo>
                  <a:lnTo>
                    <a:pt x="17156" y="19717"/>
                  </a:lnTo>
                  <a:lnTo>
                    <a:pt x="19717" y="17156"/>
                  </a:lnTo>
                  <a:lnTo>
                    <a:pt x="19106" y="16546"/>
                  </a:lnTo>
                  <a:cubicBezTo>
                    <a:pt x="19941" y="15341"/>
                    <a:pt x="20486" y="13997"/>
                    <a:pt x="20737" y="12609"/>
                  </a:cubicBezTo>
                  <a:lnTo>
                    <a:pt x="21600" y="12609"/>
                  </a:lnTo>
                  <a:lnTo>
                    <a:pt x="21600" y="8991"/>
                  </a:lnTo>
                  <a:lnTo>
                    <a:pt x="20737" y="8991"/>
                  </a:lnTo>
                  <a:cubicBezTo>
                    <a:pt x="20486" y="7603"/>
                    <a:pt x="19941" y="6259"/>
                    <a:pt x="19106" y="5054"/>
                  </a:cubicBezTo>
                  <a:lnTo>
                    <a:pt x="19717" y="4444"/>
                  </a:lnTo>
                  <a:lnTo>
                    <a:pt x="17156" y="1883"/>
                  </a:lnTo>
                  <a:lnTo>
                    <a:pt x="16546" y="2494"/>
                  </a:lnTo>
                  <a:cubicBezTo>
                    <a:pt x="15341" y="1659"/>
                    <a:pt x="13997" y="1114"/>
                    <a:pt x="12609" y="863"/>
                  </a:cubicBezTo>
                  <a:lnTo>
                    <a:pt x="12609" y="0"/>
                  </a:lnTo>
                  <a:lnTo>
                    <a:pt x="8991" y="0"/>
                  </a:lnTo>
                  <a:close/>
                </a:path>
              </a:pathLst>
            </a:custGeom>
            <a:solidFill>
              <a:schemeClr val="bg1">
                <a:alpha val="50000"/>
              </a:schemeClr>
            </a:solidFill>
            <a:ln w="12700" cap="flat" cmpd="sng">
              <a:solidFill>
                <a:schemeClr val="bg1"/>
              </a:solidFill>
              <a:prstDash val="solid"/>
              <a:miter lim="400000"/>
            </a:ln>
            <a:effectLst/>
          </p:spPr>
          <p:txBody>
            <a:bodyPr wrap="square" lIns="0" tIns="0" rIns="0" bIns="0" numCol="1" anchor="ctr">
              <a:noAutofit/>
            </a:bodyPr>
            <a:lstStyle/>
            <a:p>
              <a:pPr lvl="0">
                <a:defRPr sz="3200"/>
              </a:pPr>
              <a:endParaRPr>
                <a:latin typeface="+mj-lt"/>
              </a:endParaRPr>
            </a:p>
          </p:txBody>
        </p:sp>
        <p:sp>
          <p:nvSpPr>
            <p:cNvPr id="73" name="Shape 220">
              <a:extLst>
                <a:ext uri="{FF2B5EF4-FFF2-40B4-BE49-F238E27FC236}">
                  <a16:creationId xmlns:a16="http://schemas.microsoft.com/office/drawing/2014/main" id="{94391AD7-0346-BA44-80DD-155B9BFBF4C1}"/>
                </a:ext>
              </a:extLst>
            </p:cNvPr>
            <p:cNvSpPr/>
            <p:nvPr/>
          </p:nvSpPr>
          <p:spPr>
            <a:xfrm>
              <a:off x="1945392" y="2234781"/>
              <a:ext cx="923709" cy="838295"/>
            </a:xfrm>
            <a:custGeom>
              <a:avLst/>
              <a:gdLst/>
              <a:ahLst/>
              <a:cxnLst>
                <a:cxn ang="0">
                  <a:pos x="wd2" y="hd2"/>
                </a:cxn>
                <a:cxn ang="5400000">
                  <a:pos x="wd2" y="hd2"/>
                </a:cxn>
                <a:cxn ang="10800000">
                  <a:pos x="wd2" y="hd2"/>
                </a:cxn>
                <a:cxn ang="16200000">
                  <a:pos x="wd2" y="hd2"/>
                </a:cxn>
              </a:cxnLst>
              <a:rect l="0" t="0" r="r" b="b"/>
              <a:pathLst>
                <a:path w="21600" h="21600" extrusionOk="0">
                  <a:moveTo>
                    <a:pt x="8991" y="0"/>
                  </a:moveTo>
                  <a:lnTo>
                    <a:pt x="8991" y="863"/>
                  </a:lnTo>
                  <a:cubicBezTo>
                    <a:pt x="7603" y="1114"/>
                    <a:pt x="6259" y="1659"/>
                    <a:pt x="5054" y="2494"/>
                  </a:cubicBezTo>
                  <a:lnTo>
                    <a:pt x="4444" y="1883"/>
                  </a:lnTo>
                  <a:lnTo>
                    <a:pt x="1883" y="4444"/>
                  </a:lnTo>
                  <a:lnTo>
                    <a:pt x="2494" y="5054"/>
                  </a:lnTo>
                  <a:cubicBezTo>
                    <a:pt x="1659" y="6259"/>
                    <a:pt x="1114" y="7603"/>
                    <a:pt x="863" y="8991"/>
                  </a:cubicBezTo>
                  <a:lnTo>
                    <a:pt x="0" y="8991"/>
                  </a:lnTo>
                  <a:lnTo>
                    <a:pt x="0" y="12609"/>
                  </a:lnTo>
                  <a:lnTo>
                    <a:pt x="863" y="12609"/>
                  </a:lnTo>
                  <a:cubicBezTo>
                    <a:pt x="1114" y="13997"/>
                    <a:pt x="1659" y="15341"/>
                    <a:pt x="2494" y="16546"/>
                  </a:cubicBezTo>
                  <a:lnTo>
                    <a:pt x="1883" y="17156"/>
                  </a:lnTo>
                  <a:lnTo>
                    <a:pt x="4444" y="19717"/>
                  </a:lnTo>
                  <a:lnTo>
                    <a:pt x="5054" y="19106"/>
                  </a:lnTo>
                  <a:cubicBezTo>
                    <a:pt x="6259" y="19941"/>
                    <a:pt x="7603" y="20486"/>
                    <a:pt x="8991" y="20737"/>
                  </a:cubicBezTo>
                  <a:lnTo>
                    <a:pt x="8991" y="21600"/>
                  </a:lnTo>
                  <a:lnTo>
                    <a:pt x="12609" y="21600"/>
                  </a:lnTo>
                  <a:lnTo>
                    <a:pt x="12609" y="20737"/>
                  </a:lnTo>
                  <a:cubicBezTo>
                    <a:pt x="13997" y="20486"/>
                    <a:pt x="15341" y="19941"/>
                    <a:pt x="16546" y="19106"/>
                  </a:cubicBezTo>
                  <a:lnTo>
                    <a:pt x="17156" y="19717"/>
                  </a:lnTo>
                  <a:lnTo>
                    <a:pt x="19717" y="17156"/>
                  </a:lnTo>
                  <a:lnTo>
                    <a:pt x="19106" y="16546"/>
                  </a:lnTo>
                  <a:cubicBezTo>
                    <a:pt x="19941" y="15341"/>
                    <a:pt x="20486" y="13997"/>
                    <a:pt x="20737" y="12609"/>
                  </a:cubicBezTo>
                  <a:lnTo>
                    <a:pt x="21600" y="12609"/>
                  </a:lnTo>
                  <a:lnTo>
                    <a:pt x="21600" y="8991"/>
                  </a:lnTo>
                  <a:lnTo>
                    <a:pt x="20737" y="8991"/>
                  </a:lnTo>
                  <a:cubicBezTo>
                    <a:pt x="20486" y="7603"/>
                    <a:pt x="19941" y="6259"/>
                    <a:pt x="19106" y="5054"/>
                  </a:cubicBezTo>
                  <a:lnTo>
                    <a:pt x="19717" y="4444"/>
                  </a:lnTo>
                  <a:lnTo>
                    <a:pt x="17156" y="1883"/>
                  </a:lnTo>
                  <a:lnTo>
                    <a:pt x="16546" y="2494"/>
                  </a:lnTo>
                  <a:cubicBezTo>
                    <a:pt x="15341" y="1659"/>
                    <a:pt x="13997" y="1114"/>
                    <a:pt x="12609" y="863"/>
                  </a:cubicBezTo>
                  <a:lnTo>
                    <a:pt x="12609" y="0"/>
                  </a:lnTo>
                  <a:lnTo>
                    <a:pt x="8991" y="0"/>
                  </a:lnTo>
                  <a:close/>
                </a:path>
              </a:pathLst>
            </a:custGeom>
            <a:solidFill>
              <a:schemeClr val="bg1">
                <a:alpha val="42152"/>
              </a:schemeClr>
            </a:solidFill>
            <a:ln w="12700" cap="flat" cmpd="sng">
              <a:solidFill>
                <a:schemeClr val="bg1"/>
              </a:solidFill>
              <a:prstDash val="solid"/>
              <a:miter lim="400000"/>
            </a:ln>
            <a:effectLst/>
          </p:spPr>
          <p:txBody>
            <a:bodyPr wrap="square" lIns="0" tIns="0" rIns="0" bIns="0" numCol="1" anchor="ctr">
              <a:noAutofit/>
            </a:bodyPr>
            <a:lstStyle/>
            <a:p>
              <a:pPr lvl="0">
                <a:defRPr sz="3200"/>
              </a:pPr>
              <a:endParaRPr>
                <a:latin typeface="+mj-lt"/>
              </a:endParaRPr>
            </a:p>
          </p:txBody>
        </p:sp>
      </p:grpSp>
    </p:spTree>
    <p:extLst>
      <p:ext uri="{BB962C8B-B14F-4D97-AF65-F5344CB8AC3E}">
        <p14:creationId xmlns:p14="http://schemas.microsoft.com/office/powerpoint/2010/main" val="14084076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F8E01B9D-5B0D-ED48-93FD-8B9F129C122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179"/>
          <a:stretch/>
        </p:blipFill>
        <p:spPr>
          <a:xfrm>
            <a:off x="-23924" y="220711"/>
            <a:ext cx="12384090" cy="1452195"/>
          </a:xfrm>
          <a:prstGeom prst="rect">
            <a:avLst/>
          </a:prstGeom>
        </p:spPr>
      </p:pic>
      <p:sp>
        <p:nvSpPr>
          <p:cNvPr id="53" name="Rectangle 21">
            <a:extLst>
              <a:ext uri="{FF2B5EF4-FFF2-40B4-BE49-F238E27FC236}">
                <a16:creationId xmlns:a16="http://schemas.microsoft.com/office/drawing/2014/main" id="{66D3B711-11C4-0A42-9372-FA79243F9672}"/>
              </a:ext>
            </a:extLst>
          </p:cNvPr>
          <p:cNvSpPr/>
          <p:nvPr/>
        </p:nvSpPr>
        <p:spPr bwMode="auto">
          <a:xfrm>
            <a:off x="-23925" y="209637"/>
            <a:ext cx="12239849" cy="1452196"/>
          </a:xfrm>
          <a:prstGeom prst="rect">
            <a:avLst/>
          </a:prstGeom>
          <a:solidFill>
            <a:schemeClr val="tx2">
              <a:lumMod val="60000"/>
              <a:lumOff val="40000"/>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2" name="Titel 1">
            <a:extLst>
              <a:ext uri="{FF2B5EF4-FFF2-40B4-BE49-F238E27FC236}">
                <a16:creationId xmlns:a16="http://schemas.microsoft.com/office/drawing/2014/main" id="{8DBD732E-255D-5641-835F-7822FEFB1A84}"/>
              </a:ext>
            </a:extLst>
          </p:cNvPr>
          <p:cNvSpPr>
            <a:spLocks noGrp="1"/>
          </p:cNvSpPr>
          <p:nvPr>
            <p:ph type="title"/>
          </p:nvPr>
        </p:nvSpPr>
        <p:spPr>
          <a:xfrm>
            <a:off x="373172" y="771272"/>
            <a:ext cx="11445656" cy="797082"/>
          </a:xfrm>
        </p:spPr>
        <p:txBody>
          <a:bodyPr/>
          <a:lstStyle/>
          <a:p>
            <a:r>
              <a:rPr lang="de-DE" dirty="0">
                <a:solidFill>
                  <a:schemeClr val="bg1"/>
                </a:solidFill>
                <a:latin typeface="Tahoma" panose="020B0604030504040204" pitchFamily="34" charset="0"/>
                <a:ea typeface="Tahoma" panose="020B0604030504040204" pitchFamily="34" charset="0"/>
                <a:cs typeface="Tahoma" panose="020B0604030504040204" pitchFamily="34" charset="0"/>
              </a:rPr>
              <a:t>Beginn der Schulpflicht</a:t>
            </a:r>
          </a:p>
        </p:txBody>
      </p:sp>
      <p:sp>
        <p:nvSpPr>
          <p:cNvPr id="3" name="Textplatzhalter 2">
            <a:extLst>
              <a:ext uri="{FF2B5EF4-FFF2-40B4-BE49-F238E27FC236}">
                <a16:creationId xmlns:a16="http://schemas.microsoft.com/office/drawing/2014/main" id="{372F9084-4CAF-5A4B-B2B8-887F658B4A98}"/>
              </a:ext>
            </a:extLst>
          </p:cNvPr>
          <p:cNvSpPr>
            <a:spLocks noGrp="1"/>
          </p:cNvSpPr>
          <p:nvPr>
            <p:ph type="body" sz="quarter" idx="10"/>
          </p:nvPr>
        </p:nvSpPr>
        <p:spPr>
          <a:xfrm>
            <a:off x="373172" y="369140"/>
            <a:ext cx="5334843" cy="314948"/>
          </a:xfrm>
        </p:spPr>
        <p:txBody>
          <a:bodyPr/>
          <a:lstStyle/>
          <a:p>
            <a:r>
              <a:rPr lang="de-DE" dirty="0">
                <a:solidFill>
                  <a:schemeClr val="bg1"/>
                </a:solidFill>
              </a:rPr>
              <a:t>SCHULE</a:t>
            </a:r>
          </a:p>
        </p:txBody>
      </p:sp>
      <p:sp>
        <p:nvSpPr>
          <p:cNvPr id="40" name="Rechteck 39">
            <a:extLst>
              <a:ext uri="{FF2B5EF4-FFF2-40B4-BE49-F238E27FC236}">
                <a16:creationId xmlns:a16="http://schemas.microsoft.com/office/drawing/2014/main" id="{CEB93749-3925-EF42-A72D-35270B331D1E}"/>
              </a:ext>
            </a:extLst>
          </p:cNvPr>
          <p:cNvSpPr/>
          <p:nvPr/>
        </p:nvSpPr>
        <p:spPr bwMode="auto">
          <a:xfrm>
            <a:off x="-23925" y="2433168"/>
            <a:ext cx="12285832" cy="1187751"/>
          </a:xfrm>
          <a:prstGeom prst="rect">
            <a:avLst/>
          </a:prstGeom>
          <a:solidFill>
            <a:srgbClr val="004080"/>
          </a:solidFill>
          <a:ln w="9525" cap="flat" cmpd="sng" algn="ctr">
            <a:solidFill>
              <a:srgbClr val="004080"/>
            </a:solid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de-AT" sz="1800" b="0" i="0" u="none" strike="noStrike" kern="1200" cap="none" spc="0" normalizeH="0" baseline="0" noProof="0">
              <a:ln>
                <a:noFill/>
              </a:ln>
              <a:solidFill>
                <a:srgbClr val="646464"/>
              </a:solidFill>
              <a:effectLst/>
              <a:uLnTx/>
              <a:uFillTx/>
              <a:latin typeface="Arial" charset="0"/>
              <a:ea typeface="+mn-ea"/>
              <a:cs typeface="+mn-cs"/>
            </a:endParaRPr>
          </a:p>
        </p:txBody>
      </p:sp>
      <p:sp>
        <p:nvSpPr>
          <p:cNvPr id="41" name="Rechteck 40">
            <a:extLst>
              <a:ext uri="{FF2B5EF4-FFF2-40B4-BE49-F238E27FC236}">
                <a16:creationId xmlns:a16="http://schemas.microsoft.com/office/drawing/2014/main" id="{BA5CE506-A92E-BC4C-BC66-98C06C9AB93E}"/>
              </a:ext>
            </a:extLst>
          </p:cNvPr>
          <p:cNvSpPr/>
          <p:nvPr/>
        </p:nvSpPr>
        <p:spPr>
          <a:xfrm>
            <a:off x="3384097" y="2580766"/>
            <a:ext cx="9194252" cy="830997"/>
          </a:xfrm>
          <a:prstGeom prst="rect">
            <a:avLst/>
          </a:prstGeom>
        </p:spPr>
        <p:txBody>
          <a:bodyPr wrap="square">
            <a:spAutoFit/>
          </a:bodyPr>
          <a:lstStyle/>
          <a:p>
            <a:pPr lvl="0" defTabSz="995164" fontAlgn="base">
              <a:spcBef>
                <a:spcPct val="0"/>
              </a:spcBef>
              <a:spcAft>
                <a:spcPct val="0"/>
              </a:spcAft>
              <a:buClr>
                <a:srgbClr val="198CFF"/>
              </a:buClr>
              <a:buSzPct val="75000"/>
              <a:defRPr/>
            </a:pPr>
            <a:r>
              <a:rPr lang="de-AT" sz="2400" b="1" dirty="0">
                <a:solidFill>
                  <a:srgbClr val="FFFFFF"/>
                </a:solidFill>
                <a:latin typeface="Tahoma"/>
              </a:rPr>
              <a:t>Alle Kinder, die bis zum 30. September sechs Jahre alt werden, sind im gleichen Jahr ab dem 1.8. schulpflichtig.</a:t>
            </a:r>
            <a:endParaRPr kumimoji="0" lang="de-AT" sz="1800" b="0" i="0" u="none" strike="noStrike" kern="1200" cap="none" spc="0" normalizeH="0" baseline="0" noProof="0" dirty="0">
              <a:ln>
                <a:noFill/>
              </a:ln>
              <a:solidFill>
                <a:srgbClr val="FFFFFF"/>
              </a:solidFill>
              <a:effectLst/>
              <a:uLnTx/>
              <a:uFillTx/>
              <a:latin typeface="Tahoma"/>
              <a:ea typeface="+mn-ea"/>
              <a:cs typeface="+mn-cs"/>
            </a:endParaRPr>
          </a:p>
        </p:txBody>
      </p:sp>
      <p:sp>
        <p:nvSpPr>
          <p:cNvPr id="42" name="Rechteck 41">
            <a:extLst>
              <a:ext uri="{FF2B5EF4-FFF2-40B4-BE49-F238E27FC236}">
                <a16:creationId xmlns:a16="http://schemas.microsoft.com/office/drawing/2014/main" id="{EA566D58-A10A-EE46-B866-62A02211F4DD}"/>
              </a:ext>
            </a:extLst>
          </p:cNvPr>
          <p:cNvSpPr/>
          <p:nvPr/>
        </p:nvSpPr>
        <p:spPr bwMode="auto">
          <a:xfrm>
            <a:off x="-23923" y="4212459"/>
            <a:ext cx="12285830" cy="1617233"/>
          </a:xfrm>
          <a:prstGeom prst="rect">
            <a:avLst/>
          </a:prstGeom>
          <a:solidFill>
            <a:srgbClr val="0066CC"/>
          </a:solidFill>
          <a:ln w="9525" cap="flat" cmpd="sng" algn="ctr">
            <a:solidFill>
              <a:srgbClr val="0066CC"/>
            </a:solid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de-AT" sz="1800" b="0" i="0" u="none" strike="noStrike" kern="1200" cap="none" spc="0" normalizeH="0" baseline="0" noProof="0">
              <a:ln>
                <a:noFill/>
              </a:ln>
              <a:solidFill>
                <a:srgbClr val="646464"/>
              </a:solidFill>
              <a:effectLst/>
              <a:uLnTx/>
              <a:uFillTx/>
              <a:latin typeface="Arial" charset="0"/>
              <a:ea typeface="+mn-ea"/>
              <a:cs typeface="+mn-cs"/>
            </a:endParaRPr>
          </a:p>
        </p:txBody>
      </p:sp>
      <p:sp>
        <p:nvSpPr>
          <p:cNvPr id="43" name="Rechteck 42">
            <a:extLst>
              <a:ext uri="{FF2B5EF4-FFF2-40B4-BE49-F238E27FC236}">
                <a16:creationId xmlns:a16="http://schemas.microsoft.com/office/drawing/2014/main" id="{AB5C09D8-5687-E342-8A2B-F173161DA261}"/>
              </a:ext>
            </a:extLst>
          </p:cNvPr>
          <p:cNvSpPr/>
          <p:nvPr/>
        </p:nvSpPr>
        <p:spPr>
          <a:xfrm>
            <a:off x="3374989" y="4236245"/>
            <a:ext cx="9425194" cy="1569660"/>
          </a:xfrm>
          <a:prstGeom prst="rect">
            <a:avLst/>
          </a:prstGeom>
        </p:spPr>
        <p:txBody>
          <a:bodyPr wrap="square">
            <a:spAutoFit/>
          </a:bodyPr>
          <a:lstStyle/>
          <a:p>
            <a:pPr lvl="0" defTabSz="995164" fontAlgn="base">
              <a:spcBef>
                <a:spcPct val="0"/>
              </a:spcBef>
              <a:spcAft>
                <a:spcPct val="0"/>
              </a:spcAft>
              <a:buClr>
                <a:srgbClr val="198CFF"/>
              </a:buClr>
              <a:buSzPct val="75000"/>
              <a:defRPr/>
            </a:pPr>
            <a:r>
              <a:rPr lang="de-AT" sz="2400" b="1" dirty="0">
                <a:solidFill>
                  <a:srgbClr val="FFFFFF"/>
                </a:solidFill>
                <a:latin typeface="Tahoma"/>
              </a:rPr>
              <a:t>Kinder, die nach dem 30. September sechs Jahre alt werden, können auf Antrag eingeschult werden. Die Entscheidung über die Aufnahme trifft die Schulleitung unter Berücksichtigung des schulärztlichen.</a:t>
            </a:r>
            <a:endParaRPr kumimoji="0" lang="de-AT" sz="1800" b="1" i="0" u="none" strike="noStrike" kern="1200" cap="none" spc="0" normalizeH="0" baseline="0" noProof="0" dirty="0">
              <a:ln>
                <a:noFill/>
              </a:ln>
              <a:solidFill>
                <a:srgbClr val="FFFFFF"/>
              </a:solidFill>
              <a:effectLst/>
              <a:uLnTx/>
              <a:uFillTx/>
              <a:latin typeface="Tahoma"/>
              <a:ea typeface="+mn-ea"/>
              <a:cs typeface="+mn-cs"/>
            </a:endParaRPr>
          </a:p>
        </p:txBody>
      </p:sp>
      <p:pic>
        <p:nvPicPr>
          <p:cNvPr id="46" name="Grafik 45">
            <a:extLst>
              <a:ext uri="{FF2B5EF4-FFF2-40B4-BE49-F238E27FC236}">
                <a16:creationId xmlns:a16="http://schemas.microsoft.com/office/drawing/2014/main" id="{EB408196-C3A7-7441-860C-70AB5A36CD1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0453" y="4679147"/>
            <a:ext cx="635927" cy="683856"/>
          </a:xfrm>
          <a:prstGeom prst="rect">
            <a:avLst/>
          </a:prstGeom>
        </p:spPr>
      </p:pic>
      <p:pic>
        <p:nvPicPr>
          <p:cNvPr id="47" name="Grafik 46">
            <a:extLst>
              <a:ext uri="{FF2B5EF4-FFF2-40B4-BE49-F238E27FC236}">
                <a16:creationId xmlns:a16="http://schemas.microsoft.com/office/drawing/2014/main" id="{84670327-889D-E048-88F3-726AC16B588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0452" y="2654336"/>
            <a:ext cx="635927" cy="683856"/>
          </a:xfrm>
          <a:prstGeom prst="rect">
            <a:avLst/>
          </a:prstGeom>
        </p:spPr>
      </p:pic>
      <p:sp>
        <p:nvSpPr>
          <p:cNvPr id="48" name="Flowchart: Data 9">
            <a:extLst>
              <a:ext uri="{FF2B5EF4-FFF2-40B4-BE49-F238E27FC236}">
                <a16:creationId xmlns:a16="http://schemas.microsoft.com/office/drawing/2014/main" id="{AFADAC11-855E-4C44-BDEB-394F7B3456AE}"/>
              </a:ext>
            </a:extLst>
          </p:cNvPr>
          <p:cNvSpPr/>
          <p:nvPr/>
        </p:nvSpPr>
        <p:spPr bwMode="gray">
          <a:xfrm>
            <a:off x="1333293" y="1683980"/>
            <a:ext cx="2155711" cy="464210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3050"/>
              <a:gd name="connsiteY0" fmla="*/ 10000 h 10000"/>
              <a:gd name="connsiteX1" fmla="*/ 2000 w 13050"/>
              <a:gd name="connsiteY1" fmla="*/ 0 h 10000"/>
              <a:gd name="connsiteX2" fmla="*/ 13050 w 13050"/>
              <a:gd name="connsiteY2" fmla="*/ 0 h 10000"/>
              <a:gd name="connsiteX3" fmla="*/ 8000 w 13050"/>
              <a:gd name="connsiteY3" fmla="*/ 10000 h 10000"/>
              <a:gd name="connsiteX4" fmla="*/ 0 w 13050"/>
              <a:gd name="connsiteY4" fmla="*/ 10000 h 10000"/>
              <a:gd name="connsiteX0" fmla="*/ 0 w 13050"/>
              <a:gd name="connsiteY0" fmla="*/ 10000 h 10000"/>
              <a:gd name="connsiteX1" fmla="*/ 5300 w 13050"/>
              <a:gd name="connsiteY1" fmla="*/ 0 h 10000"/>
              <a:gd name="connsiteX2" fmla="*/ 13050 w 13050"/>
              <a:gd name="connsiteY2" fmla="*/ 0 h 10000"/>
              <a:gd name="connsiteX3" fmla="*/ 8000 w 13050"/>
              <a:gd name="connsiteY3" fmla="*/ 10000 h 10000"/>
              <a:gd name="connsiteX4" fmla="*/ 0 w 1305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 h="10000">
                <a:moveTo>
                  <a:pt x="0" y="10000"/>
                </a:moveTo>
                <a:lnTo>
                  <a:pt x="5300" y="0"/>
                </a:lnTo>
                <a:lnTo>
                  <a:pt x="13050" y="0"/>
                </a:lnTo>
                <a:lnTo>
                  <a:pt x="8000" y="10000"/>
                </a:lnTo>
                <a:lnTo>
                  <a:pt x="0" y="10000"/>
                </a:lnTo>
                <a:close/>
              </a:path>
            </a:pathLst>
          </a:custGeom>
          <a:solidFill>
            <a:schemeClr val="bg1">
              <a:alpha val="74902"/>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0160" tIns="80160" rIns="80160" bIns="80160" rtlCol="0" anchor="ctr">
            <a:noAutofit/>
          </a:bodyPr>
          <a:lstStyle/>
          <a:p>
            <a:pPr marL="0" marR="0" lvl="0" indent="0" algn="ctr" defTabSz="1042317" rtl="0" eaLnBrk="1" fontAlgn="auto" latinLnBrk="0" hangingPunct="1">
              <a:lnSpc>
                <a:spcPct val="100000"/>
              </a:lnSpc>
              <a:spcBef>
                <a:spcPts val="0"/>
              </a:spcBef>
              <a:spcAft>
                <a:spcPts val="0"/>
              </a:spcAft>
              <a:buClrTx/>
              <a:buSzTx/>
              <a:buFontTx/>
              <a:buNone/>
              <a:tabLst/>
              <a:defRPr/>
            </a:pPr>
            <a:endParaRPr kumimoji="0" lang="en-US" sz="1228" b="0" i="0" u="none" strike="noStrike" kern="1200" cap="none" spc="0" normalizeH="0" baseline="0" noProof="0" dirty="0">
              <a:ln>
                <a:noFill/>
              </a:ln>
              <a:solidFill>
                <a:srgbClr val="646464"/>
              </a:solidFill>
              <a:effectLst/>
              <a:uLnTx/>
              <a:uFillTx/>
              <a:latin typeface="Tahoma"/>
              <a:ea typeface="+mn-ea"/>
              <a:cs typeface="+mn-cs"/>
            </a:endParaRPr>
          </a:p>
        </p:txBody>
      </p:sp>
      <p:sp>
        <p:nvSpPr>
          <p:cNvPr id="45" name="Rechteck 44">
            <a:extLst>
              <a:ext uri="{FF2B5EF4-FFF2-40B4-BE49-F238E27FC236}">
                <a16:creationId xmlns:a16="http://schemas.microsoft.com/office/drawing/2014/main" id="{1A4C3355-D823-4848-9BAA-70EE757DA43B}"/>
              </a:ext>
            </a:extLst>
          </p:cNvPr>
          <p:cNvSpPr/>
          <p:nvPr/>
        </p:nvSpPr>
        <p:spPr>
          <a:xfrm>
            <a:off x="1974833" y="4594348"/>
            <a:ext cx="505630" cy="769441"/>
          </a:xfrm>
          <a:prstGeom prst="rect">
            <a:avLst/>
          </a:prstGeom>
        </p:spPr>
        <p:txBody>
          <a:bodyPr wrap="square">
            <a:spAutoFit/>
          </a:bodyPr>
          <a:lstStyle/>
          <a:p>
            <a:pPr marL="0" marR="0" lvl="0" indent="0" algn="l" defTabSz="1042317" rtl="0" eaLnBrk="1" fontAlgn="auto" latinLnBrk="0" hangingPunct="1">
              <a:lnSpc>
                <a:spcPct val="100000"/>
              </a:lnSpc>
              <a:spcBef>
                <a:spcPts val="0"/>
              </a:spcBef>
              <a:spcAft>
                <a:spcPts val="0"/>
              </a:spcAft>
              <a:buClrTx/>
              <a:buSzTx/>
              <a:buFontTx/>
              <a:buNone/>
              <a:tabLst/>
              <a:defRPr/>
            </a:pPr>
            <a:r>
              <a:rPr kumimoji="0" lang="de-AT" sz="4400" b="1" i="0" u="none" strike="noStrike" kern="1200" cap="none" spc="0" normalizeH="0" baseline="0" noProof="0" dirty="0">
                <a:ln>
                  <a:noFill/>
                </a:ln>
                <a:solidFill>
                  <a:srgbClr val="0066CC"/>
                </a:solidFill>
                <a:effectLst/>
                <a:uLnTx/>
                <a:uFillTx/>
                <a:latin typeface="Tahoma"/>
                <a:ea typeface="+mn-ea"/>
                <a:cs typeface="+mn-cs"/>
              </a:rPr>
              <a:t>2</a:t>
            </a:r>
            <a:endParaRPr kumimoji="0" lang="de-AT" sz="3999" b="1" i="0" u="none" strike="noStrike" kern="1200" cap="none" spc="0" normalizeH="0" baseline="0" noProof="0" dirty="0">
              <a:ln>
                <a:noFill/>
              </a:ln>
              <a:solidFill>
                <a:srgbClr val="0066CC"/>
              </a:solidFill>
              <a:effectLst/>
              <a:uLnTx/>
              <a:uFillTx/>
              <a:latin typeface="Tahoma"/>
              <a:ea typeface="+mn-ea"/>
              <a:cs typeface="+mn-cs"/>
            </a:endParaRPr>
          </a:p>
        </p:txBody>
      </p:sp>
      <p:sp>
        <p:nvSpPr>
          <p:cNvPr id="44" name="Rechteck 43">
            <a:extLst>
              <a:ext uri="{FF2B5EF4-FFF2-40B4-BE49-F238E27FC236}">
                <a16:creationId xmlns:a16="http://schemas.microsoft.com/office/drawing/2014/main" id="{05DBE94A-36DA-A043-8DD2-3F8724BEA1F3}"/>
              </a:ext>
            </a:extLst>
          </p:cNvPr>
          <p:cNvSpPr/>
          <p:nvPr/>
        </p:nvSpPr>
        <p:spPr>
          <a:xfrm>
            <a:off x="2289554" y="2642322"/>
            <a:ext cx="505630" cy="769441"/>
          </a:xfrm>
          <a:prstGeom prst="rect">
            <a:avLst/>
          </a:prstGeom>
        </p:spPr>
        <p:txBody>
          <a:bodyPr wrap="square">
            <a:spAutoFit/>
          </a:bodyPr>
          <a:lstStyle/>
          <a:p>
            <a:pPr marL="0" marR="0" lvl="0" indent="0" algn="l" defTabSz="1042317"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4080"/>
                </a:solidFill>
                <a:effectLst/>
                <a:uLnTx/>
                <a:uFillTx/>
                <a:latin typeface="Tahoma"/>
                <a:ea typeface="+mn-ea"/>
                <a:cs typeface="+mn-cs"/>
              </a:rPr>
              <a:t>1</a:t>
            </a:r>
            <a:endParaRPr kumimoji="0" lang="de-AT" sz="3599" b="1" i="0" u="none" strike="noStrike" kern="1200" cap="none" spc="0" normalizeH="0" baseline="0" noProof="0" dirty="0">
              <a:ln>
                <a:noFill/>
              </a:ln>
              <a:solidFill>
                <a:srgbClr val="004080"/>
              </a:solidFill>
              <a:effectLst/>
              <a:uLnTx/>
              <a:uFillTx/>
              <a:latin typeface="Tahoma"/>
              <a:ea typeface="+mn-ea"/>
              <a:cs typeface="+mn-cs"/>
            </a:endParaRPr>
          </a:p>
        </p:txBody>
      </p:sp>
    </p:spTree>
    <p:extLst>
      <p:ext uri="{BB962C8B-B14F-4D97-AF65-F5344CB8AC3E}">
        <p14:creationId xmlns:p14="http://schemas.microsoft.com/office/powerpoint/2010/main" val="3401516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F8E01B9D-5B0D-ED48-93FD-8B9F129C122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179"/>
          <a:stretch/>
        </p:blipFill>
        <p:spPr>
          <a:xfrm>
            <a:off x="-23924" y="220711"/>
            <a:ext cx="12384090" cy="1452195"/>
          </a:xfrm>
          <a:prstGeom prst="rect">
            <a:avLst/>
          </a:prstGeom>
        </p:spPr>
      </p:pic>
      <p:sp>
        <p:nvSpPr>
          <p:cNvPr id="53" name="Rectangle 21">
            <a:extLst>
              <a:ext uri="{FF2B5EF4-FFF2-40B4-BE49-F238E27FC236}">
                <a16:creationId xmlns:a16="http://schemas.microsoft.com/office/drawing/2014/main" id="{66D3B711-11C4-0A42-9372-FA79243F9672}"/>
              </a:ext>
            </a:extLst>
          </p:cNvPr>
          <p:cNvSpPr/>
          <p:nvPr/>
        </p:nvSpPr>
        <p:spPr bwMode="auto">
          <a:xfrm>
            <a:off x="-23925" y="209637"/>
            <a:ext cx="12239849" cy="1452196"/>
          </a:xfrm>
          <a:prstGeom prst="rect">
            <a:avLst/>
          </a:prstGeom>
          <a:solidFill>
            <a:schemeClr val="tx2">
              <a:lumMod val="60000"/>
              <a:lumOff val="40000"/>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2" name="Titel 1">
            <a:extLst>
              <a:ext uri="{FF2B5EF4-FFF2-40B4-BE49-F238E27FC236}">
                <a16:creationId xmlns:a16="http://schemas.microsoft.com/office/drawing/2014/main" id="{8DBD732E-255D-5641-835F-7822FEFB1A84}"/>
              </a:ext>
            </a:extLst>
          </p:cNvPr>
          <p:cNvSpPr>
            <a:spLocks noGrp="1"/>
          </p:cNvSpPr>
          <p:nvPr>
            <p:ph type="title"/>
          </p:nvPr>
        </p:nvSpPr>
        <p:spPr>
          <a:xfrm>
            <a:off x="373172" y="771272"/>
            <a:ext cx="11445656" cy="797082"/>
          </a:xfrm>
        </p:spPr>
        <p:txBody>
          <a:bodyPr/>
          <a:lstStyle/>
          <a:p>
            <a:r>
              <a:rPr lang="de-DE" dirty="0">
                <a:solidFill>
                  <a:schemeClr val="bg1"/>
                </a:solidFill>
                <a:latin typeface="Tahoma" panose="020B0604030504040204" pitchFamily="34" charset="0"/>
                <a:ea typeface="Tahoma" panose="020B0604030504040204" pitchFamily="34" charset="0"/>
                <a:cs typeface="Tahoma" panose="020B0604030504040204" pitchFamily="34" charset="0"/>
              </a:rPr>
              <a:t>Anmeldeverfahren</a:t>
            </a:r>
          </a:p>
        </p:txBody>
      </p:sp>
      <p:sp>
        <p:nvSpPr>
          <p:cNvPr id="3" name="Textplatzhalter 2">
            <a:extLst>
              <a:ext uri="{FF2B5EF4-FFF2-40B4-BE49-F238E27FC236}">
                <a16:creationId xmlns:a16="http://schemas.microsoft.com/office/drawing/2014/main" id="{372F9084-4CAF-5A4B-B2B8-887F658B4A98}"/>
              </a:ext>
            </a:extLst>
          </p:cNvPr>
          <p:cNvSpPr>
            <a:spLocks noGrp="1"/>
          </p:cNvSpPr>
          <p:nvPr>
            <p:ph type="body" sz="quarter" idx="10"/>
          </p:nvPr>
        </p:nvSpPr>
        <p:spPr>
          <a:xfrm>
            <a:off x="373172" y="369140"/>
            <a:ext cx="5334843" cy="314948"/>
          </a:xfrm>
        </p:spPr>
        <p:txBody>
          <a:bodyPr/>
          <a:lstStyle/>
          <a:p>
            <a:r>
              <a:rPr lang="de-DE" dirty="0">
                <a:solidFill>
                  <a:schemeClr val="bg1"/>
                </a:solidFill>
              </a:rPr>
              <a:t>SPRACHE</a:t>
            </a:r>
          </a:p>
        </p:txBody>
      </p:sp>
      <p:sp>
        <p:nvSpPr>
          <p:cNvPr id="89" name="Textfeld 88">
            <a:extLst>
              <a:ext uri="{FF2B5EF4-FFF2-40B4-BE49-F238E27FC236}">
                <a16:creationId xmlns:a16="http://schemas.microsoft.com/office/drawing/2014/main" id="{7D56F486-26F6-904F-9460-6C9B84D656C4}"/>
              </a:ext>
            </a:extLst>
          </p:cNvPr>
          <p:cNvSpPr txBox="1"/>
          <p:nvPr/>
        </p:nvSpPr>
        <p:spPr>
          <a:xfrm>
            <a:off x="1806958" y="1760090"/>
            <a:ext cx="4287495" cy="333993"/>
          </a:xfrm>
          <a:prstGeom prst="rect">
            <a:avLst/>
          </a:prstGeom>
        </p:spPr>
        <p:txBody>
          <a:bodyPr wrap="square" rtlCol="0">
            <a:spAutoFit/>
          </a:bodyPr>
          <a:lstStyle/>
          <a:p>
            <a:pPr defTabSz="1041900">
              <a:defRPr/>
            </a:pPr>
            <a:endParaRPr lang="de-DE" sz="2099" kern="0" dirty="0">
              <a:solidFill>
                <a:srgbClr val="404040"/>
              </a:solidFill>
              <a:latin typeface="Tahoma"/>
            </a:endParaRPr>
          </a:p>
        </p:txBody>
      </p:sp>
      <p:grpSp>
        <p:nvGrpSpPr>
          <p:cNvPr id="4" name="Gruppieren 3">
            <a:extLst>
              <a:ext uri="{FF2B5EF4-FFF2-40B4-BE49-F238E27FC236}">
                <a16:creationId xmlns:a16="http://schemas.microsoft.com/office/drawing/2014/main" id="{5E115C2A-BEE9-6D4E-89F5-7E406998A083}"/>
              </a:ext>
            </a:extLst>
          </p:cNvPr>
          <p:cNvGrpSpPr/>
          <p:nvPr/>
        </p:nvGrpSpPr>
        <p:grpSpPr>
          <a:xfrm>
            <a:off x="1815813" y="2083921"/>
            <a:ext cx="1764144" cy="3928011"/>
            <a:chOff x="1754560" y="2158717"/>
            <a:chExt cx="1547060" cy="3460584"/>
          </a:xfrm>
        </p:grpSpPr>
        <p:sp>
          <p:nvSpPr>
            <p:cNvPr id="98" name="Freeform 905">
              <a:extLst>
                <a:ext uri="{FF2B5EF4-FFF2-40B4-BE49-F238E27FC236}">
                  <a16:creationId xmlns:a16="http://schemas.microsoft.com/office/drawing/2014/main" id="{7E6434B8-6F17-6B49-ADFE-23CD1E2749FE}"/>
                </a:ext>
              </a:extLst>
            </p:cNvPr>
            <p:cNvSpPr>
              <a:spLocks noEditPoints="1"/>
            </p:cNvSpPr>
            <p:nvPr/>
          </p:nvSpPr>
          <p:spPr bwMode="auto">
            <a:xfrm rot="18900000">
              <a:off x="2151725" y="4795257"/>
              <a:ext cx="822004" cy="824044"/>
            </a:xfrm>
            <a:custGeom>
              <a:avLst/>
              <a:gdLst>
                <a:gd name="T0" fmla="*/ 200 w 200"/>
                <a:gd name="T1" fmla="*/ 88 h 200"/>
                <a:gd name="T2" fmla="*/ 177 w 200"/>
                <a:gd name="T3" fmla="*/ 24 h 200"/>
                <a:gd name="T4" fmla="*/ 111 w 200"/>
                <a:gd name="T5" fmla="*/ 0 h 200"/>
                <a:gd name="T6" fmla="*/ 8 w 200"/>
                <a:gd name="T7" fmla="*/ 103 h 200"/>
                <a:gd name="T8" fmla="*/ 41 w 200"/>
                <a:gd name="T9" fmla="*/ 81 h 200"/>
                <a:gd name="T10" fmla="*/ 8 w 200"/>
                <a:gd name="T11" fmla="*/ 193 h 200"/>
                <a:gd name="T12" fmla="*/ 119 w 200"/>
                <a:gd name="T13" fmla="*/ 159 h 200"/>
                <a:gd name="T14" fmla="*/ 96 w 200"/>
                <a:gd name="T15" fmla="*/ 192 h 200"/>
                <a:gd name="T16" fmla="*/ 200 w 200"/>
                <a:gd name="T17" fmla="*/ 88 h 200"/>
                <a:gd name="T18" fmla="*/ 122 w 200"/>
                <a:gd name="T19" fmla="*/ 135 h 200"/>
                <a:gd name="T20" fmla="*/ 137 w 200"/>
                <a:gd name="T21" fmla="*/ 114 h 200"/>
                <a:gd name="T22" fmla="*/ 65 w 200"/>
                <a:gd name="T23" fmla="*/ 136 h 200"/>
                <a:gd name="T24" fmla="*/ 86 w 200"/>
                <a:gd name="T25" fmla="*/ 64 h 200"/>
                <a:gd name="T26" fmla="*/ 65 w 200"/>
                <a:gd name="T27" fmla="*/ 78 h 200"/>
                <a:gd name="T28" fmla="*/ 132 w 200"/>
                <a:gd name="T29" fmla="*/ 11 h 200"/>
                <a:gd name="T30" fmla="*/ 174 w 200"/>
                <a:gd name="T31" fmla="*/ 27 h 200"/>
                <a:gd name="T32" fmla="*/ 189 w 200"/>
                <a:gd name="T33" fmla="*/ 68 h 200"/>
                <a:gd name="T34" fmla="*/ 122 w 200"/>
                <a:gd name="T35" fmla="*/ 13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200">
                  <a:moveTo>
                    <a:pt x="200" y="88"/>
                  </a:moveTo>
                  <a:cubicBezTo>
                    <a:pt x="177" y="24"/>
                    <a:pt x="177" y="24"/>
                    <a:pt x="177" y="24"/>
                  </a:cubicBezTo>
                  <a:cubicBezTo>
                    <a:pt x="111" y="0"/>
                    <a:pt x="111" y="0"/>
                    <a:pt x="111" y="0"/>
                  </a:cubicBezTo>
                  <a:cubicBezTo>
                    <a:pt x="111" y="0"/>
                    <a:pt x="38" y="4"/>
                    <a:pt x="8" y="103"/>
                  </a:cubicBezTo>
                  <a:cubicBezTo>
                    <a:pt x="8" y="103"/>
                    <a:pt x="27" y="87"/>
                    <a:pt x="41" y="81"/>
                  </a:cubicBezTo>
                  <a:cubicBezTo>
                    <a:pt x="41" y="81"/>
                    <a:pt x="0" y="146"/>
                    <a:pt x="8" y="193"/>
                  </a:cubicBezTo>
                  <a:cubicBezTo>
                    <a:pt x="54" y="200"/>
                    <a:pt x="119" y="159"/>
                    <a:pt x="119" y="159"/>
                  </a:cubicBezTo>
                  <a:cubicBezTo>
                    <a:pt x="113" y="173"/>
                    <a:pt x="96" y="192"/>
                    <a:pt x="96" y="192"/>
                  </a:cubicBezTo>
                  <a:cubicBezTo>
                    <a:pt x="195" y="162"/>
                    <a:pt x="200" y="88"/>
                    <a:pt x="200" y="88"/>
                  </a:cubicBezTo>
                  <a:moveTo>
                    <a:pt x="122" y="135"/>
                  </a:moveTo>
                  <a:cubicBezTo>
                    <a:pt x="122" y="135"/>
                    <a:pt x="132" y="123"/>
                    <a:pt x="137" y="114"/>
                  </a:cubicBezTo>
                  <a:cubicBezTo>
                    <a:pt x="137" y="114"/>
                    <a:pt x="94" y="140"/>
                    <a:pt x="65" y="136"/>
                  </a:cubicBezTo>
                  <a:cubicBezTo>
                    <a:pt x="59" y="105"/>
                    <a:pt x="86" y="64"/>
                    <a:pt x="86" y="64"/>
                  </a:cubicBezTo>
                  <a:cubicBezTo>
                    <a:pt x="77" y="68"/>
                    <a:pt x="65" y="78"/>
                    <a:pt x="65" y="78"/>
                  </a:cubicBezTo>
                  <a:cubicBezTo>
                    <a:pt x="84" y="14"/>
                    <a:pt x="132" y="11"/>
                    <a:pt x="132" y="11"/>
                  </a:cubicBezTo>
                  <a:cubicBezTo>
                    <a:pt x="174" y="27"/>
                    <a:pt x="174" y="27"/>
                    <a:pt x="174" y="27"/>
                  </a:cubicBezTo>
                  <a:cubicBezTo>
                    <a:pt x="189" y="68"/>
                    <a:pt x="189" y="68"/>
                    <a:pt x="189" y="68"/>
                  </a:cubicBezTo>
                  <a:cubicBezTo>
                    <a:pt x="189" y="68"/>
                    <a:pt x="186" y="116"/>
                    <a:pt x="122" y="135"/>
                  </a:cubicBezTo>
                </a:path>
              </a:pathLst>
            </a:custGeom>
            <a:solidFill>
              <a:srgbClr val="0040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a:p>
          </p:txBody>
        </p:sp>
        <p:sp>
          <p:nvSpPr>
            <p:cNvPr id="99" name="Freeform 906">
              <a:extLst>
                <a:ext uri="{FF2B5EF4-FFF2-40B4-BE49-F238E27FC236}">
                  <a16:creationId xmlns:a16="http://schemas.microsoft.com/office/drawing/2014/main" id="{B1E41A3A-E5E3-6F49-95FE-A47D85EDDDB0}"/>
                </a:ext>
              </a:extLst>
            </p:cNvPr>
            <p:cNvSpPr>
              <a:spLocks/>
            </p:cNvSpPr>
            <p:nvPr/>
          </p:nvSpPr>
          <p:spPr bwMode="auto">
            <a:xfrm rot="18900000">
              <a:off x="2294083" y="4799751"/>
              <a:ext cx="534404" cy="532365"/>
            </a:xfrm>
            <a:custGeom>
              <a:avLst/>
              <a:gdLst>
                <a:gd name="T0" fmla="*/ 115 w 130"/>
                <a:gd name="T1" fmla="*/ 16 h 129"/>
                <a:gd name="T2" fmla="*/ 73 w 130"/>
                <a:gd name="T3" fmla="*/ 0 h 129"/>
                <a:gd name="T4" fmla="*/ 6 w 130"/>
                <a:gd name="T5" fmla="*/ 67 h 129"/>
                <a:gd name="T6" fmla="*/ 27 w 130"/>
                <a:gd name="T7" fmla="*/ 53 h 129"/>
                <a:gd name="T8" fmla="*/ 6 w 130"/>
                <a:gd name="T9" fmla="*/ 125 h 129"/>
                <a:gd name="T10" fmla="*/ 78 w 130"/>
                <a:gd name="T11" fmla="*/ 103 h 129"/>
                <a:gd name="T12" fmla="*/ 63 w 130"/>
                <a:gd name="T13" fmla="*/ 124 h 129"/>
                <a:gd name="T14" fmla="*/ 130 w 130"/>
                <a:gd name="T15" fmla="*/ 57 h 129"/>
                <a:gd name="T16" fmla="*/ 115 w 130"/>
                <a:gd name="T17" fmla="*/ 1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115" y="16"/>
                  </a:moveTo>
                  <a:cubicBezTo>
                    <a:pt x="73" y="0"/>
                    <a:pt x="73" y="0"/>
                    <a:pt x="73" y="0"/>
                  </a:cubicBezTo>
                  <a:cubicBezTo>
                    <a:pt x="73" y="0"/>
                    <a:pt x="25" y="3"/>
                    <a:pt x="6" y="67"/>
                  </a:cubicBezTo>
                  <a:cubicBezTo>
                    <a:pt x="6" y="67"/>
                    <a:pt x="18" y="57"/>
                    <a:pt x="27" y="53"/>
                  </a:cubicBezTo>
                  <a:cubicBezTo>
                    <a:pt x="27" y="53"/>
                    <a:pt x="0" y="94"/>
                    <a:pt x="6" y="125"/>
                  </a:cubicBezTo>
                  <a:cubicBezTo>
                    <a:pt x="35" y="129"/>
                    <a:pt x="78" y="103"/>
                    <a:pt x="78" y="103"/>
                  </a:cubicBezTo>
                  <a:cubicBezTo>
                    <a:pt x="73" y="112"/>
                    <a:pt x="63" y="124"/>
                    <a:pt x="63" y="124"/>
                  </a:cubicBezTo>
                  <a:cubicBezTo>
                    <a:pt x="127" y="105"/>
                    <a:pt x="130" y="57"/>
                    <a:pt x="130" y="57"/>
                  </a:cubicBezTo>
                  <a:cubicBezTo>
                    <a:pt x="115" y="16"/>
                    <a:pt x="115" y="16"/>
                    <a:pt x="115" y="16"/>
                  </a:cubicBezTo>
                </a:path>
              </a:pathLst>
            </a:custGeom>
            <a:solidFill>
              <a:srgbClr val="1A8C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dirty="0"/>
            </a:p>
          </p:txBody>
        </p:sp>
        <p:sp>
          <p:nvSpPr>
            <p:cNvPr id="100" name="Freeform 907">
              <a:extLst>
                <a:ext uri="{FF2B5EF4-FFF2-40B4-BE49-F238E27FC236}">
                  <a16:creationId xmlns:a16="http://schemas.microsoft.com/office/drawing/2014/main" id="{B83390D4-55A0-634B-B9C7-79A909E3950C}"/>
                </a:ext>
              </a:extLst>
            </p:cNvPr>
            <p:cNvSpPr>
              <a:spLocks/>
            </p:cNvSpPr>
            <p:nvPr/>
          </p:nvSpPr>
          <p:spPr bwMode="auto">
            <a:xfrm rot="18900000">
              <a:off x="2564094" y="4071412"/>
              <a:ext cx="675145" cy="901554"/>
            </a:xfrm>
            <a:custGeom>
              <a:avLst/>
              <a:gdLst>
                <a:gd name="T0" fmla="*/ 164 w 164"/>
                <a:gd name="T1" fmla="*/ 55 h 219"/>
                <a:gd name="T2" fmla="*/ 133 w 164"/>
                <a:gd name="T3" fmla="*/ 180 h 219"/>
                <a:gd name="T4" fmla="*/ 0 w 164"/>
                <a:gd name="T5" fmla="*/ 219 h 219"/>
                <a:gd name="T6" fmla="*/ 27 w 164"/>
                <a:gd name="T7" fmla="*/ 82 h 219"/>
                <a:gd name="T8" fmla="*/ 109 w 164"/>
                <a:gd name="T9" fmla="*/ 0 h 219"/>
                <a:gd name="T10" fmla="*/ 164 w 164"/>
                <a:gd name="T11" fmla="*/ 55 h 219"/>
              </a:gdLst>
              <a:ahLst/>
              <a:cxnLst>
                <a:cxn ang="0">
                  <a:pos x="T0" y="T1"/>
                </a:cxn>
                <a:cxn ang="0">
                  <a:pos x="T2" y="T3"/>
                </a:cxn>
                <a:cxn ang="0">
                  <a:pos x="T4" y="T5"/>
                </a:cxn>
                <a:cxn ang="0">
                  <a:pos x="T6" y="T7"/>
                </a:cxn>
                <a:cxn ang="0">
                  <a:pos x="T8" y="T9"/>
                </a:cxn>
                <a:cxn ang="0">
                  <a:pos x="T10" y="T11"/>
                </a:cxn>
              </a:cxnLst>
              <a:rect l="0" t="0" r="r" b="b"/>
              <a:pathLst>
                <a:path w="164" h="219">
                  <a:moveTo>
                    <a:pt x="164" y="55"/>
                  </a:moveTo>
                  <a:cubicBezTo>
                    <a:pt x="133" y="180"/>
                    <a:pt x="133" y="180"/>
                    <a:pt x="133" y="180"/>
                  </a:cubicBezTo>
                  <a:cubicBezTo>
                    <a:pt x="0" y="219"/>
                    <a:pt x="0" y="219"/>
                    <a:pt x="0" y="219"/>
                  </a:cubicBezTo>
                  <a:cubicBezTo>
                    <a:pt x="0" y="219"/>
                    <a:pt x="93" y="147"/>
                    <a:pt x="27" y="82"/>
                  </a:cubicBezTo>
                  <a:cubicBezTo>
                    <a:pt x="109" y="0"/>
                    <a:pt x="109" y="0"/>
                    <a:pt x="109" y="0"/>
                  </a:cubicBezTo>
                  <a:cubicBezTo>
                    <a:pt x="164" y="55"/>
                    <a:pt x="164" y="55"/>
                    <a:pt x="164" y="55"/>
                  </a:cubicBezTo>
                </a:path>
              </a:pathLst>
            </a:custGeom>
            <a:solidFill>
              <a:srgbClr val="4A4A4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a:p>
          </p:txBody>
        </p:sp>
        <p:sp>
          <p:nvSpPr>
            <p:cNvPr id="101" name="Freeform 908">
              <a:extLst>
                <a:ext uri="{FF2B5EF4-FFF2-40B4-BE49-F238E27FC236}">
                  <a16:creationId xmlns:a16="http://schemas.microsoft.com/office/drawing/2014/main" id="{81E8B4EB-27F7-7E40-B4F4-DC416BC507AD}"/>
                </a:ext>
              </a:extLst>
            </p:cNvPr>
            <p:cNvSpPr>
              <a:spLocks/>
            </p:cNvSpPr>
            <p:nvPr/>
          </p:nvSpPr>
          <p:spPr bwMode="auto">
            <a:xfrm rot="18900000">
              <a:off x="1754560" y="4180413"/>
              <a:ext cx="899513" cy="679225"/>
            </a:xfrm>
            <a:custGeom>
              <a:avLst/>
              <a:gdLst>
                <a:gd name="T0" fmla="*/ 164 w 219"/>
                <a:gd name="T1" fmla="*/ 0 h 165"/>
                <a:gd name="T2" fmla="*/ 38 w 219"/>
                <a:gd name="T3" fmla="*/ 32 h 165"/>
                <a:gd name="T4" fmla="*/ 0 w 219"/>
                <a:gd name="T5" fmla="*/ 165 h 165"/>
                <a:gd name="T6" fmla="*/ 137 w 219"/>
                <a:gd name="T7" fmla="*/ 137 h 165"/>
                <a:gd name="T8" fmla="*/ 219 w 219"/>
                <a:gd name="T9" fmla="*/ 55 h 165"/>
                <a:gd name="T10" fmla="*/ 164 w 219"/>
                <a:gd name="T11" fmla="*/ 0 h 165"/>
              </a:gdLst>
              <a:ahLst/>
              <a:cxnLst>
                <a:cxn ang="0">
                  <a:pos x="T0" y="T1"/>
                </a:cxn>
                <a:cxn ang="0">
                  <a:pos x="T2" y="T3"/>
                </a:cxn>
                <a:cxn ang="0">
                  <a:pos x="T4" y="T5"/>
                </a:cxn>
                <a:cxn ang="0">
                  <a:pos x="T6" y="T7"/>
                </a:cxn>
                <a:cxn ang="0">
                  <a:pos x="T8" y="T9"/>
                </a:cxn>
                <a:cxn ang="0">
                  <a:pos x="T10" y="T11"/>
                </a:cxn>
              </a:cxnLst>
              <a:rect l="0" t="0" r="r" b="b"/>
              <a:pathLst>
                <a:path w="219" h="165">
                  <a:moveTo>
                    <a:pt x="164" y="0"/>
                  </a:moveTo>
                  <a:cubicBezTo>
                    <a:pt x="38" y="32"/>
                    <a:pt x="38" y="32"/>
                    <a:pt x="38" y="32"/>
                  </a:cubicBezTo>
                  <a:cubicBezTo>
                    <a:pt x="0" y="165"/>
                    <a:pt x="0" y="165"/>
                    <a:pt x="0" y="165"/>
                  </a:cubicBezTo>
                  <a:cubicBezTo>
                    <a:pt x="0" y="165"/>
                    <a:pt x="71" y="72"/>
                    <a:pt x="137" y="137"/>
                  </a:cubicBezTo>
                  <a:cubicBezTo>
                    <a:pt x="219" y="55"/>
                    <a:pt x="219" y="55"/>
                    <a:pt x="219" y="55"/>
                  </a:cubicBezTo>
                  <a:lnTo>
                    <a:pt x="164" y="0"/>
                  </a:lnTo>
                  <a:close/>
                </a:path>
              </a:pathLst>
            </a:custGeom>
            <a:solidFill>
              <a:srgbClr val="4A4A4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a:p>
          </p:txBody>
        </p:sp>
        <p:sp>
          <p:nvSpPr>
            <p:cNvPr id="102" name="Freeform 909">
              <a:extLst>
                <a:ext uri="{FF2B5EF4-FFF2-40B4-BE49-F238E27FC236}">
                  <a16:creationId xmlns:a16="http://schemas.microsoft.com/office/drawing/2014/main" id="{5195842E-9A1F-6E43-BB2D-0E4C249AF402}"/>
                </a:ext>
              </a:extLst>
            </p:cNvPr>
            <p:cNvSpPr>
              <a:spLocks/>
            </p:cNvSpPr>
            <p:nvPr/>
          </p:nvSpPr>
          <p:spPr bwMode="auto">
            <a:xfrm rot="18900000">
              <a:off x="1982057" y="2901624"/>
              <a:ext cx="1148358" cy="1148359"/>
            </a:xfrm>
            <a:custGeom>
              <a:avLst/>
              <a:gdLst>
                <a:gd name="T0" fmla="*/ 61 w 279"/>
                <a:gd name="T1" fmla="*/ 221 h 279"/>
                <a:gd name="T2" fmla="*/ 148 w 279"/>
                <a:gd name="T3" fmla="*/ 279 h 279"/>
                <a:gd name="T4" fmla="*/ 279 w 279"/>
                <a:gd name="T5" fmla="*/ 78 h 279"/>
                <a:gd name="T6" fmla="*/ 233 w 279"/>
                <a:gd name="T7" fmla="*/ 48 h 279"/>
                <a:gd name="T8" fmla="*/ 204 w 279"/>
                <a:gd name="T9" fmla="*/ 7 h 279"/>
                <a:gd name="T10" fmla="*/ 202 w 279"/>
                <a:gd name="T11" fmla="*/ 0 h 279"/>
                <a:gd name="T12" fmla="*/ 0 w 279"/>
                <a:gd name="T13" fmla="*/ 131 h 279"/>
                <a:gd name="T14" fmla="*/ 8 w 279"/>
                <a:gd name="T15" fmla="*/ 147 h 279"/>
                <a:gd name="T16" fmla="*/ 61 w 279"/>
                <a:gd name="T17" fmla="*/ 22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9" h="279">
                  <a:moveTo>
                    <a:pt x="61" y="221"/>
                  </a:moveTo>
                  <a:cubicBezTo>
                    <a:pt x="83" y="243"/>
                    <a:pt x="111" y="264"/>
                    <a:pt x="148" y="279"/>
                  </a:cubicBezTo>
                  <a:cubicBezTo>
                    <a:pt x="207" y="212"/>
                    <a:pt x="249" y="138"/>
                    <a:pt x="279" y="78"/>
                  </a:cubicBezTo>
                  <a:cubicBezTo>
                    <a:pt x="259" y="70"/>
                    <a:pt x="244" y="60"/>
                    <a:pt x="233" y="48"/>
                  </a:cubicBezTo>
                  <a:cubicBezTo>
                    <a:pt x="218" y="34"/>
                    <a:pt x="210" y="19"/>
                    <a:pt x="204" y="7"/>
                  </a:cubicBezTo>
                  <a:cubicBezTo>
                    <a:pt x="203" y="4"/>
                    <a:pt x="202" y="2"/>
                    <a:pt x="202" y="0"/>
                  </a:cubicBezTo>
                  <a:cubicBezTo>
                    <a:pt x="141" y="29"/>
                    <a:pt x="67" y="72"/>
                    <a:pt x="0" y="131"/>
                  </a:cubicBezTo>
                  <a:cubicBezTo>
                    <a:pt x="2" y="136"/>
                    <a:pt x="5" y="141"/>
                    <a:pt x="8" y="147"/>
                  </a:cubicBezTo>
                  <a:cubicBezTo>
                    <a:pt x="18" y="168"/>
                    <a:pt x="35" y="196"/>
                    <a:pt x="61" y="221"/>
                  </a:cubicBezTo>
                </a:path>
              </a:pathLst>
            </a:custGeom>
            <a:solidFill>
              <a:srgbClr val="A6A6A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a:p>
          </p:txBody>
        </p:sp>
        <p:sp>
          <p:nvSpPr>
            <p:cNvPr id="103" name="Freeform 910">
              <a:extLst>
                <a:ext uri="{FF2B5EF4-FFF2-40B4-BE49-F238E27FC236}">
                  <a16:creationId xmlns:a16="http://schemas.microsoft.com/office/drawing/2014/main" id="{C5BAF4E3-450E-FB4A-8938-DCC6F8FB3191}"/>
                </a:ext>
              </a:extLst>
            </p:cNvPr>
            <p:cNvSpPr>
              <a:spLocks/>
            </p:cNvSpPr>
            <p:nvPr/>
          </p:nvSpPr>
          <p:spPr bwMode="auto">
            <a:xfrm rot="18900000">
              <a:off x="2313511" y="2467218"/>
              <a:ext cx="485452" cy="485453"/>
            </a:xfrm>
            <a:custGeom>
              <a:avLst/>
              <a:gdLst>
                <a:gd name="T0" fmla="*/ 29 w 118"/>
                <a:gd name="T1" fmla="*/ 91 h 118"/>
                <a:gd name="T2" fmla="*/ 72 w 118"/>
                <a:gd name="T3" fmla="*/ 118 h 118"/>
                <a:gd name="T4" fmla="*/ 118 w 118"/>
                <a:gd name="T5" fmla="*/ 0 h 118"/>
                <a:gd name="T6" fmla="*/ 0 w 118"/>
                <a:gd name="T7" fmla="*/ 46 h 118"/>
                <a:gd name="T8" fmla="*/ 3 w 118"/>
                <a:gd name="T9" fmla="*/ 53 h 118"/>
                <a:gd name="T10" fmla="*/ 29 w 118"/>
                <a:gd name="T11" fmla="*/ 91 h 118"/>
              </a:gdLst>
              <a:ahLst/>
              <a:cxnLst>
                <a:cxn ang="0">
                  <a:pos x="T0" y="T1"/>
                </a:cxn>
                <a:cxn ang="0">
                  <a:pos x="T2" y="T3"/>
                </a:cxn>
                <a:cxn ang="0">
                  <a:pos x="T4" y="T5"/>
                </a:cxn>
                <a:cxn ang="0">
                  <a:pos x="T6" y="T7"/>
                </a:cxn>
                <a:cxn ang="0">
                  <a:pos x="T8" y="T9"/>
                </a:cxn>
                <a:cxn ang="0">
                  <a:pos x="T10" y="T11"/>
                </a:cxn>
              </a:cxnLst>
              <a:rect l="0" t="0" r="r" b="b"/>
              <a:pathLst>
                <a:path w="118" h="118">
                  <a:moveTo>
                    <a:pt x="29" y="91"/>
                  </a:moveTo>
                  <a:cubicBezTo>
                    <a:pt x="40" y="102"/>
                    <a:pt x="54" y="111"/>
                    <a:pt x="72" y="118"/>
                  </a:cubicBezTo>
                  <a:cubicBezTo>
                    <a:pt x="104" y="50"/>
                    <a:pt x="118" y="0"/>
                    <a:pt x="118" y="0"/>
                  </a:cubicBezTo>
                  <a:cubicBezTo>
                    <a:pt x="118" y="0"/>
                    <a:pt x="69" y="14"/>
                    <a:pt x="0" y="46"/>
                  </a:cubicBezTo>
                  <a:cubicBezTo>
                    <a:pt x="1" y="48"/>
                    <a:pt x="2" y="50"/>
                    <a:pt x="3" y="53"/>
                  </a:cubicBezTo>
                  <a:cubicBezTo>
                    <a:pt x="8" y="64"/>
                    <a:pt x="16" y="78"/>
                    <a:pt x="29" y="91"/>
                  </a:cubicBezTo>
                </a:path>
              </a:pathLst>
            </a:custGeom>
            <a:solidFill>
              <a:srgbClr val="A6A6A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a:p>
          </p:txBody>
        </p:sp>
        <p:sp>
          <p:nvSpPr>
            <p:cNvPr id="104" name="Freeform 911">
              <a:extLst>
                <a:ext uri="{FF2B5EF4-FFF2-40B4-BE49-F238E27FC236}">
                  <a16:creationId xmlns:a16="http://schemas.microsoft.com/office/drawing/2014/main" id="{8D60D53C-50CD-5E4D-BFA4-5EC87D3719C5}"/>
                </a:ext>
              </a:extLst>
            </p:cNvPr>
            <p:cNvSpPr>
              <a:spLocks/>
            </p:cNvSpPr>
            <p:nvPr/>
          </p:nvSpPr>
          <p:spPr bwMode="auto">
            <a:xfrm rot="18900000">
              <a:off x="1955119" y="3723002"/>
              <a:ext cx="1199351" cy="1207511"/>
            </a:xfrm>
            <a:custGeom>
              <a:avLst/>
              <a:gdLst>
                <a:gd name="T0" fmla="*/ 206 w 292"/>
                <a:gd name="T1" fmla="*/ 91 h 293"/>
                <a:gd name="T2" fmla="*/ 150 w 292"/>
                <a:gd name="T3" fmla="*/ 14 h 293"/>
                <a:gd name="T4" fmla="*/ 144 w 292"/>
                <a:gd name="T5" fmla="*/ 0 h 293"/>
                <a:gd name="T6" fmla="*/ 0 w 292"/>
                <a:gd name="T7" fmla="*/ 197 h 293"/>
                <a:gd name="T8" fmla="*/ 37 w 292"/>
                <a:gd name="T9" fmla="*/ 253 h 293"/>
                <a:gd name="T10" fmla="*/ 96 w 292"/>
                <a:gd name="T11" fmla="*/ 293 h 293"/>
                <a:gd name="T12" fmla="*/ 292 w 292"/>
                <a:gd name="T13" fmla="*/ 149 h 293"/>
                <a:gd name="T14" fmla="*/ 206 w 292"/>
                <a:gd name="T15" fmla="*/ 91 h 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293">
                  <a:moveTo>
                    <a:pt x="206" y="91"/>
                  </a:moveTo>
                  <a:cubicBezTo>
                    <a:pt x="179" y="64"/>
                    <a:pt x="161" y="35"/>
                    <a:pt x="150" y="14"/>
                  </a:cubicBezTo>
                  <a:cubicBezTo>
                    <a:pt x="148" y="9"/>
                    <a:pt x="146" y="4"/>
                    <a:pt x="144" y="0"/>
                  </a:cubicBezTo>
                  <a:cubicBezTo>
                    <a:pt x="86" y="53"/>
                    <a:pt x="34" y="118"/>
                    <a:pt x="0" y="197"/>
                  </a:cubicBezTo>
                  <a:cubicBezTo>
                    <a:pt x="0" y="197"/>
                    <a:pt x="11" y="228"/>
                    <a:pt x="37" y="253"/>
                  </a:cubicBezTo>
                  <a:cubicBezTo>
                    <a:pt x="63" y="279"/>
                    <a:pt x="96" y="293"/>
                    <a:pt x="96" y="293"/>
                  </a:cubicBezTo>
                  <a:cubicBezTo>
                    <a:pt x="175" y="260"/>
                    <a:pt x="240" y="207"/>
                    <a:pt x="292" y="149"/>
                  </a:cubicBezTo>
                  <a:cubicBezTo>
                    <a:pt x="256" y="134"/>
                    <a:pt x="228" y="113"/>
                    <a:pt x="206" y="91"/>
                  </a:cubicBezTo>
                </a:path>
              </a:pathLst>
            </a:custGeom>
            <a:solidFill>
              <a:srgbClr val="A6A6A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a:p>
          </p:txBody>
        </p:sp>
        <p:sp>
          <p:nvSpPr>
            <p:cNvPr id="105" name="Freeform 912">
              <a:extLst>
                <a:ext uri="{FF2B5EF4-FFF2-40B4-BE49-F238E27FC236}">
                  <a16:creationId xmlns:a16="http://schemas.microsoft.com/office/drawing/2014/main" id="{FAC20DE5-7CB1-D54B-A0E7-B33F904D04A3}"/>
                </a:ext>
              </a:extLst>
            </p:cNvPr>
            <p:cNvSpPr>
              <a:spLocks/>
            </p:cNvSpPr>
            <p:nvPr/>
          </p:nvSpPr>
          <p:spPr bwMode="auto">
            <a:xfrm rot="18900000">
              <a:off x="2389402" y="2704050"/>
              <a:ext cx="336553" cy="340633"/>
            </a:xfrm>
            <a:custGeom>
              <a:avLst/>
              <a:gdLst>
                <a:gd name="T0" fmla="*/ 31 w 82"/>
                <a:gd name="T1" fmla="*/ 53 h 83"/>
                <a:gd name="T2" fmla="*/ 77 w 82"/>
                <a:gd name="T3" fmla="*/ 83 h 83"/>
                <a:gd name="T4" fmla="*/ 82 w 82"/>
                <a:gd name="T5" fmla="*/ 72 h 83"/>
                <a:gd name="T6" fmla="*/ 39 w 82"/>
                <a:gd name="T7" fmla="*/ 45 h 83"/>
                <a:gd name="T8" fmla="*/ 13 w 82"/>
                <a:gd name="T9" fmla="*/ 7 h 83"/>
                <a:gd name="T10" fmla="*/ 10 w 82"/>
                <a:gd name="T11" fmla="*/ 0 h 83"/>
                <a:gd name="T12" fmla="*/ 0 w 82"/>
                <a:gd name="T13" fmla="*/ 5 h 83"/>
                <a:gd name="T14" fmla="*/ 2 w 82"/>
                <a:gd name="T15" fmla="*/ 12 h 83"/>
                <a:gd name="T16" fmla="*/ 31 w 82"/>
                <a:gd name="T17" fmla="*/ 5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3">
                  <a:moveTo>
                    <a:pt x="31" y="53"/>
                  </a:moveTo>
                  <a:cubicBezTo>
                    <a:pt x="42" y="65"/>
                    <a:pt x="57" y="75"/>
                    <a:pt x="77" y="83"/>
                  </a:cubicBezTo>
                  <a:cubicBezTo>
                    <a:pt x="78" y="79"/>
                    <a:pt x="80" y="76"/>
                    <a:pt x="82" y="72"/>
                  </a:cubicBezTo>
                  <a:cubicBezTo>
                    <a:pt x="64" y="65"/>
                    <a:pt x="50" y="56"/>
                    <a:pt x="39" y="45"/>
                  </a:cubicBezTo>
                  <a:cubicBezTo>
                    <a:pt x="26" y="32"/>
                    <a:pt x="18" y="18"/>
                    <a:pt x="13" y="7"/>
                  </a:cubicBezTo>
                  <a:cubicBezTo>
                    <a:pt x="12" y="4"/>
                    <a:pt x="11" y="2"/>
                    <a:pt x="10" y="0"/>
                  </a:cubicBezTo>
                  <a:cubicBezTo>
                    <a:pt x="7" y="2"/>
                    <a:pt x="3" y="3"/>
                    <a:pt x="0" y="5"/>
                  </a:cubicBezTo>
                  <a:cubicBezTo>
                    <a:pt x="0" y="7"/>
                    <a:pt x="1" y="9"/>
                    <a:pt x="2" y="12"/>
                  </a:cubicBezTo>
                  <a:cubicBezTo>
                    <a:pt x="8" y="24"/>
                    <a:pt x="16" y="39"/>
                    <a:pt x="31" y="53"/>
                  </a:cubicBezTo>
                </a:path>
              </a:pathLst>
            </a:custGeom>
            <a:solidFill>
              <a:schemeClr val="bg1">
                <a:lumMod val="9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a:p>
          </p:txBody>
        </p:sp>
        <p:sp>
          <p:nvSpPr>
            <p:cNvPr id="106" name="Freeform 913">
              <a:extLst>
                <a:ext uri="{FF2B5EF4-FFF2-40B4-BE49-F238E27FC236}">
                  <a16:creationId xmlns:a16="http://schemas.microsoft.com/office/drawing/2014/main" id="{A0E9CBE7-93A9-124D-B330-5AACB7AABEC1}"/>
                </a:ext>
              </a:extLst>
            </p:cNvPr>
            <p:cNvSpPr>
              <a:spLocks/>
            </p:cNvSpPr>
            <p:nvPr/>
          </p:nvSpPr>
          <p:spPr bwMode="auto">
            <a:xfrm rot="18900000">
              <a:off x="2232942" y="3559236"/>
              <a:ext cx="646589" cy="646589"/>
            </a:xfrm>
            <a:custGeom>
              <a:avLst/>
              <a:gdLst>
                <a:gd name="T0" fmla="*/ 62 w 157"/>
                <a:gd name="T1" fmla="*/ 99 h 157"/>
                <a:gd name="T2" fmla="*/ 148 w 157"/>
                <a:gd name="T3" fmla="*/ 157 h 157"/>
                <a:gd name="T4" fmla="*/ 157 w 157"/>
                <a:gd name="T5" fmla="*/ 148 h 157"/>
                <a:gd name="T6" fmla="*/ 70 w 157"/>
                <a:gd name="T7" fmla="*/ 90 h 157"/>
                <a:gd name="T8" fmla="*/ 17 w 157"/>
                <a:gd name="T9" fmla="*/ 16 h 157"/>
                <a:gd name="T10" fmla="*/ 9 w 157"/>
                <a:gd name="T11" fmla="*/ 0 h 157"/>
                <a:gd name="T12" fmla="*/ 0 w 157"/>
                <a:gd name="T13" fmla="*/ 8 h 157"/>
                <a:gd name="T14" fmla="*/ 6 w 157"/>
                <a:gd name="T15" fmla="*/ 22 h 157"/>
                <a:gd name="T16" fmla="*/ 62 w 157"/>
                <a:gd name="T17" fmla="*/ 9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57">
                  <a:moveTo>
                    <a:pt x="62" y="99"/>
                  </a:moveTo>
                  <a:cubicBezTo>
                    <a:pt x="84" y="121"/>
                    <a:pt x="112" y="142"/>
                    <a:pt x="148" y="157"/>
                  </a:cubicBezTo>
                  <a:cubicBezTo>
                    <a:pt x="151" y="154"/>
                    <a:pt x="154" y="151"/>
                    <a:pt x="157" y="148"/>
                  </a:cubicBezTo>
                  <a:cubicBezTo>
                    <a:pt x="120" y="133"/>
                    <a:pt x="92" y="112"/>
                    <a:pt x="70" y="90"/>
                  </a:cubicBezTo>
                  <a:cubicBezTo>
                    <a:pt x="44" y="65"/>
                    <a:pt x="27" y="37"/>
                    <a:pt x="17" y="16"/>
                  </a:cubicBezTo>
                  <a:cubicBezTo>
                    <a:pt x="14" y="10"/>
                    <a:pt x="11" y="5"/>
                    <a:pt x="9" y="0"/>
                  </a:cubicBezTo>
                  <a:cubicBezTo>
                    <a:pt x="6" y="3"/>
                    <a:pt x="3" y="6"/>
                    <a:pt x="0" y="8"/>
                  </a:cubicBezTo>
                  <a:cubicBezTo>
                    <a:pt x="2" y="12"/>
                    <a:pt x="4" y="17"/>
                    <a:pt x="6" y="22"/>
                  </a:cubicBezTo>
                  <a:cubicBezTo>
                    <a:pt x="17" y="43"/>
                    <a:pt x="35" y="72"/>
                    <a:pt x="62" y="99"/>
                  </a:cubicBezTo>
                </a:path>
              </a:pathLst>
            </a:custGeom>
            <a:solidFill>
              <a:schemeClr val="bg1">
                <a:lumMod val="9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a:p>
          </p:txBody>
        </p:sp>
        <p:sp>
          <p:nvSpPr>
            <p:cNvPr id="107" name="Freeform 914">
              <a:extLst>
                <a:ext uri="{FF2B5EF4-FFF2-40B4-BE49-F238E27FC236}">
                  <a16:creationId xmlns:a16="http://schemas.microsoft.com/office/drawing/2014/main" id="{ECC7DD67-301B-FC46-8F7C-3A89ECB21DAB}"/>
                </a:ext>
              </a:extLst>
            </p:cNvPr>
            <p:cNvSpPr>
              <a:spLocks/>
            </p:cNvSpPr>
            <p:nvPr/>
          </p:nvSpPr>
          <p:spPr bwMode="auto">
            <a:xfrm rot="18900000">
              <a:off x="2183020" y="4189057"/>
              <a:ext cx="736336" cy="738377"/>
            </a:xfrm>
            <a:custGeom>
              <a:avLst/>
              <a:gdLst>
                <a:gd name="T0" fmla="*/ 302 w 361"/>
                <a:gd name="T1" fmla="*/ 0 h 362"/>
                <a:gd name="T2" fmla="*/ 361 w 361"/>
                <a:gd name="T3" fmla="*/ 61 h 362"/>
                <a:gd name="T4" fmla="*/ 0 w 361"/>
                <a:gd name="T5" fmla="*/ 362 h 362"/>
                <a:gd name="T6" fmla="*/ 302 w 361"/>
                <a:gd name="T7" fmla="*/ 0 h 362"/>
              </a:gdLst>
              <a:ahLst/>
              <a:cxnLst>
                <a:cxn ang="0">
                  <a:pos x="T0" y="T1"/>
                </a:cxn>
                <a:cxn ang="0">
                  <a:pos x="T2" y="T3"/>
                </a:cxn>
                <a:cxn ang="0">
                  <a:pos x="T4" y="T5"/>
                </a:cxn>
                <a:cxn ang="0">
                  <a:pos x="T6" y="T7"/>
                </a:cxn>
              </a:cxnLst>
              <a:rect l="0" t="0" r="r" b="b"/>
              <a:pathLst>
                <a:path w="361" h="362">
                  <a:moveTo>
                    <a:pt x="302" y="0"/>
                  </a:moveTo>
                  <a:lnTo>
                    <a:pt x="361" y="61"/>
                  </a:lnTo>
                  <a:lnTo>
                    <a:pt x="0" y="362"/>
                  </a:lnTo>
                  <a:lnTo>
                    <a:pt x="302" y="0"/>
                  </a:lnTo>
                  <a:close/>
                </a:path>
              </a:pathLst>
            </a:custGeom>
            <a:solidFill>
              <a:srgbClr val="4A4A4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a:p>
          </p:txBody>
        </p:sp>
        <p:sp>
          <p:nvSpPr>
            <p:cNvPr id="108" name="Freeform 915">
              <a:extLst>
                <a:ext uri="{FF2B5EF4-FFF2-40B4-BE49-F238E27FC236}">
                  <a16:creationId xmlns:a16="http://schemas.microsoft.com/office/drawing/2014/main" id="{DAB948CE-FC7C-8A4C-8D5F-BCBBDEFD0AEA}"/>
                </a:ext>
              </a:extLst>
            </p:cNvPr>
            <p:cNvSpPr>
              <a:spLocks/>
            </p:cNvSpPr>
            <p:nvPr/>
          </p:nvSpPr>
          <p:spPr bwMode="auto">
            <a:xfrm rot="18900000">
              <a:off x="2398755" y="2158717"/>
              <a:ext cx="312076" cy="312076"/>
            </a:xfrm>
            <a:custGeom>
              <a:avLst/>
              <a:gdLst>
                <a:gd name="T0" fmla="*/ 153 w 153"/>
                <a:gd name="T1" fmla="*/ 0 h 153"/>
                <a:gd name="T2" fmla="*/ 10 w 153"/>
                <a:gd name="T3" fmla="*/ 111 h 153"/>
                <a:gd name="T4" fmla="*/ 0 w 153"/>
                <a:gd name="T5" fmla="*/ 153 h 153"/>
                <a:gd name="T6" fmla="*/ 43 w 153"/>
                <a:gd name="T7" fmla="*/ 145 h 153"/>
                <a:gd name="T8" fmla="*/ 153 w 153"/>
                <a:gd name="T9" fmla="*/ 0 h 153"/>
              </a:gdLst>
              <a:ahLst/>
              <a:cxnLst>
                <a:cxn ang="0">
                  <a:pos x="T0" y="T1"/>
                </a:cxn>
                <a:cxn ang="0">
                  <a:pos x="T2" y="T3"/>
                </a:cxn>
                <a:cxn ang="0">
                  <a:pos x="T4" y="T5"/>
                </a:cxn>
                <a:cxn ang="0">
                  <a:pos x="T6" y="T7"/>
                </a:cxn>
                <a:cxn ang="0">
                  <a:pos x="T8" y="T9"/>
                </a:cxn>
              </a:cxnLst>
              <a:rect l="0" t="0" r="r" b="b"/>
              <a:pathLst>
                <a:path w="153" h="153">
                  <a:moveTo>
                    <a:pt x="153" y="0"/>
                  </a:moveTo>
                  <a:lnTo>
                    <a:pt x="10" y="111"/>
                  </a:lnTo>
                  <a:lnTo>
                    <a:pt x="0" y="153"/>
                  </a:lnTo>
                  <a:lnTo>
                    <a:pt x="43" y="145"/>
                  </a:lnTo>
                  <a:lnTo>
                    <a:pt x="153" y="0"/>
                  </a:lnTo>
                  <a:close/>
                </a:path>
              </a:pathLst>
            </a:custGeom>
            <a:solidFill>
              <a:srgbClr val="4A4A4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a:p>
          </p:txBody>
        </p:sp>
        <p:sp>
          <p:nvSpPr>
            <p:cNvPr id="109" name="Freeform 916">
              <a:extLst>
                <a:ext uri="{FF2B5EF4-FFF2-40B4-BE49-F238E27FC236}">
                  <a16:creationId xmlns:a16="http://schemas.microsoft.com/office/drawing/2014/main" id="{7666E8D3-891F-8D44-9A7F-4232971EF6CF}"/>
                </a:ext>
              </a:extLst>
            </p:cNvPr>
            <p:cNvSpPr>
              <a:spLocks/>
            </p:cNvSpPr>
            <p:nvPr/>
          </p:nvSpPr>
          <p:spPr bwMode="auto">
            <a:xfrm rot="18900000">
              <a:off x="2398755" y="2158717"/>
              <a:ext cx="312076" cy="312076"/>
            </a:xfrm>
            <a:custGeom>
              <a:avLst/>
              <a:gdLst>
                <a:gd name="T0" fmla="*/ 153 w 153"/>
                <a:gd name="T1" fmla="*/ 0 h 153"/>
                <a:gd name="T2" fmla="*/ 10 w 153"/>
                <a:gd name="T3" fmla="*/ 111 h 153"/>
                <a:gd name="T4" fmla="*/ 0 w 153"/>
                <a:gd name="T5" fmla="*/ 153 h 153"/>
                <a:gd name="T6" fmla="*/ 43 w 153"/>
                <a:gd name="T7" fmla="*/ 145 h 153"/>
                <a:gd name="T8" fmla="*/ 153 w 153"/>
                <a:gd name="T9" fmla="*/ 0 h 153"/>
              </a:gdLst>
              <a:ahLst/>
              <a:cxnLst>
                <a:cxn ang="0">
                  <a:pos x="T0" y="T1"/>
                </a:cxn>
                <a:cxn ang="0">
                  <a:pos x="T2" y="T3"/>
                </a:cxn>
                <a:cxn ang="0">
                  <a:pos x="T4" y="T5"/>
                </a:cxn>
                <a:cxn ang="0">
                  <a:pos x="T6" y="T7"/>
                </a:cxn>
                <a:cxn ang="0">
                  <a:pos x="T8" y="T9"/>
                </a:cxn>
              </a:cxnLst>
              <a:rect l="0" t="0" r="r" b="b"/>
              <a:pathLst>
                <a:path w="153" h="153">
                  <a:moveTo>
                    <a:pt x="153" y="0"/>
                  </a:moveTo>
                  <a:lnTo>
                    <a:pt x="10" y="111"/>
                  </a:lnTo>
                  <a:lnTo>
                    <a:pt x="0" y="153"/>
                  </a:lnTo>
                  <a:lnTo>
                    <a:pt x="43" y="145"/>
                  </a:lnTo>
                  <a:lnTo>
                    <a:pt x="153"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a:p>
          </p:txBody>
        </p:sp>
        <p:sp>
          <p:nvSpPr>
            <p:cNvPr id="110" name="Freeform 917">
              <a:extLst>
                <a:ext uri="{FF2B5EF4-FFF2-40B4-BE49-F238E27FC236}">
                  <a16:creationId xmlns:a16="http://schemas.microsoft.com/office/drawing/2014/main" id="{013F786E-B132-3D4E-8145-B7ECF621AAC5}"/>
                </a:ext>
              </a:extLst>
            </p:cNvPr>
            <p:cNvSpPr>
              <a:spLocks/>
            </p:cNvSpPr>
            <p:nvPr/>
          </p:nvSpPr>
          <p:spPr bwMode="auto">
            <a:xfrm rot="18900000">
              <a:off x="2358384" y="3146701"/>
              <a:ext cx="395705" cy="395705"/>
            </a:xfrm>
            <a:custGeom>
              <a:avLst/>
              <a:gdLst>
                <a:gd name="T0" fmla="*/ 79 w 96"/>
                <a:gd name="T1" fmla="*/ 79 h 96"/>
                <a:gd name="T2" fmla="*/ 17 w 96"/>
                <a:gd name="T3" fmla="*/ 79 h 96"/>
                <a:gd name="T4" fmla="*/ 17 w 96"/>
                <a:gd name="T5" fmla="*/ 17 h 96"/>
                <a:gd name="T6" fmla="*/ 79 w 96"/>
                <a:gd name="T7" fmla="*/ 17 h 96"/>
                <a:gd name="T8" fmla="*/ 79 w 96"/>
                <a:gd name="T9" fmla="*/ 79 h 96"/>
              </a:gdLst>
              <a:ahLst/>
              <a:cxnLst>
                <a:cxn ang="0">
                  <a:pos x="T0" y="T1"/>
                </a:cxn>
                <a:cxn ang="0">
                  <a:pos x="T2" y="T3"/>
                </a:cxn>
                <a:cxn ang="0">
                  <a:pos x="T4" y="T5"/>
                </a:cxn>
                <a:cxn ang="0">
                  <a:pos x="T6" y="T7"/>
                </a:cxn>
                <a:cxn ang="0">
                  <a:pos x="T8" y="T9"/>
                </a:cxn>
              </a:cxnLst>
              <a:rect l="0" t="0" r="r" b="b"/>
              <a:pathLst>
                <a:path w="96" h="96">
                  <a:moveTo>
                    <a:pt x="79" y="79"/>
                  </a:moveTo>
                  <a:cubicBezTo>
                    <a:pt x="62" y="96"/>
                    <a:pt x="34" y="96"/>
                    <a:pt x="17" y="79"/>
                  </a:cubicBezTo>
                  <a:cubicBezTo>
                    <a:pt x="0" y="62"/>
                    <a:pt x="0" y="34"/>
                    <a:pt x="17" y="17"/>
                  </a:cubicBezTo>
                  <a:cubicBezTo>
                    <a:pt x="34" y="0"/>
                    <a:pt x="62" y="0"/>
                    <a:pt x="79" y="17"/>
                  </a:cubicBezTo>
                  <a:cubicBezTo>
                    <a:pt x="96" y="34"/>
                    <a:pt x="96" y="62"/>
                    <a:pt x="79" y="79"/>
                  </a:cubicBezTo>
                </a:path>
              </a:pathLst>
            </a:custGeom>
            <a:solidFill>
              <a:schemeClr val="bg1"/>
            </a:solidFill>
            <a:ln w="9525">
              <a:solidFill>
                <a:srgbClr val="4A4A4A"/>
              </a:solidFill>
              <a:round/>
              <a:headEnd/>
              <a:tailEnd/>
            </a:ln>
          </p:spPr>
          <p:txBody>
            <a:bodyPr vert="horz" wrap="square" lIns="91440" tIns="45720" rIns="91440" bIns="45720" numCol="1" anchor="t" anchorCtr="0" compatLnSpc="1">
              <a:prstTxWarp prst="textNoShape">
                <a:avLst/>
              </a:prstTxWarp>
            </a:bodyPr>
            <a:lstStyle/>
            <a:p>
              <a:endParaRPr lang="en-US" baseline="30000"/>
            </a:p>
          </p:txBody>
        </p:sp>
        <p:sp>
          <p:nvSpPr>
            <p:cNvPr id="111" name="Freeform 918">
              <a:extLst>
                <a:ext uri="{FF2B5EF4-FFF2-40B4-BE49-F238E27FC236}">
                  <a16:creationId xmlns:a16="http://schemas.microsoft.com/office/drawing/2014/main" id="{CE7234B1-85EF-2F4F-89A1-1C3C712D8208}"/>
                </a:ext>
              </a:extLst>
            </p:cNvPr>
            <p:cNvSpPr>
              <a:spLocks noEditPoints="1"/>
            </p:cNvSpPr>
            <p:nvPr/>
          </p:nvSpPr>
          <p:spPr bwMode="auto">
            <a:xfrm rot="18900000">
              <a:off x="2358384" y="3146701"/>
              <a:ext cx="395705" cy="395705"/>
            </a:xfrm>
            <a:custGeom>
              <a:avLst/>
              <a:gdLst>
                <a:gd name="T0" fmla="*/ 48 w 96"/>
                <a:gd name="T1" fmla="*/ 96 h 96"/>
                <a:gd name="T2" fmla="*/ 14 w 96"/>
                <a:gd name="T3" fmla="*/ 82 h 96"/>
                <a:gd name="T4" fmla="*/ 0 w 96"/>
                <a:gd name="T5" fmla="*/ 48 h 96"/>
                <a:gd name="T6" fmla="*/ 14 w 96"/>
                <a:gd name="T7" fmla="*/ 14 h 96"/>
                <a:gd name="T8" fmla="*/ 48 w 96"/>
                <a:gd name="T9" fmla="*/ 0 h 96"/>
                <a:gd name="T10" fmla="*/ 82 w 96"/>
                <a:gd name="T11" fmla="*/ 14 h 96"/>
                <a:gd name="T12" fmla="*/ 96 w 96"/>
                <a:gd name="T13" fmla="*/ 48 h 96"/>
                <a:gd name="T14" fmla="*/ 82 w 96"/>
                <a:gd name="T15" fmla="*/ 82 h 96"/>
                <a:gd name="T16" fmla="*/ 48 w 96"/>
                <a:gd name="T17" fmla="*/ 96 h 96"/>
                <a:gd name="T18" fmla="*/ 48 w 96"/>
                <a:gd name="T19" fmla="*/ 10 h 96"/>
                <a:gd name="T20" fmla="*/ 21 w 96"/>
                <a:gd name="T21" fmla="*/ 21 h 96"/>
                <a:gd name="T22" fmla="*/ 10 w 96"/>
                <a:gd name="T23" fmla="*/ 48 h 96"/>
                <a:gd name="T24" fmla="*/ 21 w 96"/>
                <a:gd name="T25" fmla="*/ 75 h 96"/>
                <a:gd name="T26" fmla="*/ 48 w 96"/>
                <a:gd name="T27" fmla="*/ 86 h 96"/>
                <a:gd name="T28" fmla="*/ 75 w 96"/>
                <a:gd name="T29" fmla="*/ 75 h 96"/>
                <a:gd name="T30" fmla="*/ 86 w 96"/>
                <a:gd name="T31" fmla="*/ 48 h 96"/>
                <a:gd name="T32" fmla="*/ 75 w 96"/>
                <a:gd name="T33" fmla="*/ 21 h 96"/>
                <a:gd name="T34" fmla="*/ 48 w 96"/>
                <a:gd name="T35" fmla="*/ 1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96">
                  <a:moveTo>
                    <a:pt x="48" y="96"/>
                  </a:moveTo>
                  <a:cubicBezTo>
                    <a:pt x="35" y="96"/>
                    <a:pt x="23" y="91"/>
                    <a:pt x="14" y="82"/>
                  </a:cubicBezTo>
                  <a:cubicBezTo>
                    <a:pt x="5" y="73"/>
                    <a:pt x="0" y="61"/>
                    <a:pt x="0" y="48"/>
                  </a:cubicBezTo>
                  <a:cubicBezTo>
                    <a:pt x="0" y="35"/>
                    <a:pt x="5" y="23"/>
                    <a:pt x="14" y="14"/>
                  </a:cubicBezTo>
                  <a:cubicBezTo>
                    <a:pt x="23" y="5"/>
                    <a:pt x="35" y="0"/>
                    <a:pt x="48" y="0"/>
                  </a:cubicBezTo>
                  <a:cubicBezTo>
                    <a:pt x="61" y="0"/>
                    <a:pt x="73" y="5"/>
                    <a:pt x="82" y="14"/>
                  </a:cubicBezTo>
                  <a:cubicBezTo>
                    <a:pt x="91" y="23"/>
                    <a:pt x="96" y="35"/>
                    <a:pt x="96" y="48"/>
                  </a:cubicBezTo>
                  <a:cubicBezTo>
                    <a:pt x="96" y="61"/>
                    <a:pt x="91" y="73"/>
                    <a:pt x="82" y="82"/>
                  </a:cubicBezTo>
                  <a:cubicBezTo>
                    <a:pt x="73" y="91"/>
                    <a:pt x="61" y="96"/>
                    <a:pt x="48" y="96"/>
                  </a:cubicBezTo>
                  <a:moveTo>
                    <a:pt x="48" y="10"/>
                  </a:moveTo>
                  <a:cubicBezTo>
                    <a:pt x="38" y="10"/>
                    <a:pt x="28" y="14"/>
                    <a:pt x="21" y="21"/>
                  </a:cubicBezTo>
                  <a:cubicBezTo>
                    <a:pt x="14" y="28"/>
                    <a:pt x="10" y="38"/>
                    <a:pt x="10" y="48"/>
                  </a:cubicBezTo>
                  <a:cubicBezTo>
                    <a:pt x="10" y="58"/>
                    <a:pt x="14" y="68"/>
                    <a:pt x="21" y="75"/>
                  </a:cubicBezTo>
                  <a:cubicBezTo>
                    <a:pt x="28" y="82"/>
                    <a:pt x="38" y="86"/>
                    <a:pt x="48" y="86"/>
                  </a:cubicBezTo>
                  <a:cubicBezTo>
                    <a:pt x="58" y="86"/>
                    <a:pt x="68" y="82"/>
                    <a:pt x="75" y="75"/>
                  </a:cubicBezTo>
                  <a:cubicBezTo>
                    <a:pt x="82" y="68"/>
                    <a:pt x="86" y="58"/>
                    <a:pt x="86" y="48"/>
                  </a:cubicBezTo>
                  <a:cubicBezTo>
                    <a:pt x="86" y="38"/>
                    <a:pt x="82" y="28"/>
                    <a:pt x="75" y="21"/>
                  </a:cubicBezTo>
                  <a:cubicBezTo>
                    <a:pt x="68" y="14"/>
                    <a:pt x="58" y="10"/>
                    <a:pt x="48" y="10"/>
                  </a:cubicBezTo>
                </a:path>
              </a:pathLst>
            </a:custGeom>
            <a:solidFill>
              <a:srgbClr val="767676"/>
            </a:solidFill>
            <a:ln>
              <a:solidFill>
                <a:srgbClr val="767676"/>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dirty="0"/>
            </a:p>
          </p:txBody>
        </p:sp>
        <p:sp>
          <p:nvSpPr>
            <p:cNvPr id="112" name="Freeform 919">
              <a:extLst>
                <a:ext uri="{FF2B5EF4-FFF2-40B4-BE49-F238E27FC236}">
                  <a16:creationId xmlns:a16="http://schemas.microsoft.com/office/drawing/2014/main" id="{4AE812BD-AD3E-2343-8A82-12005339DA24}"/>
                </a:ext>
              </a:extLst>
            </p:cNvPr>
            <p:cNvSpPr>
              <a:spLocks/>
            </p:cNvSpPr>
            <p:nvPr/>
          </p:nvSpPr>
          <p:spPr bwMode="auto">
            <a:xfrm rot="18900000">
              <a:off x="2557678" y="2366081"/>
              <a:ext cx="0" cy="4080"/>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cubicBezTo>
                    <a:pt x="0" y="1"/>
                    <a:pt x="0" y="1"/>
                    <a:pt x="0" y="1"/>
                  </a:cubicBezTo>
                  <a:cubicBezTo>
                    <a:pt x="0" y="0"/>
                    <a:pt x="0" y="0"/>
                    <a:pt x="0" y="0"/>
                  </a:cubicBezTo>
                </a:path>
              </a:pathLst>
            </a:custGeom>
            <a:solidFill>
              <a:srgbClr val="264D6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a:p>
          </p:txBody>
        </p:sp>
        <p:sp>
          <p:nvSpPr>
            <p:cNvPr id="113" name="Freeform 920">
              <a:extLst>
                <a:ext uri="{FF2B5EF4-FFF2-40B4-BE49-F238E27FC236}">
                  <a16:creationId xmlns:a16="http://schemas.microsoft.com/office/drawing/2014/main" id="{6B177C9A-A40F-2649-A2DB-DFCF92C9AEFA}"/>
                </a:ext>
              </a:extLst>
            </p:cNvPr>
            <p:cNvSpPr>
              <a:spLocks noEditPoints="1"/>
            </p:cNvSpPr>
            <p:nvPr/>
          </p:nvSpPr>
          <p:spPr bwMode="auto">
            <a:xfrm rot="18900000">
              <a:off x="2548519" y="4210975"/>
              <a:ext cx="732256" cy="509928"/>
            </a:xfrm>
            <a:custGeom>
              <a:avLst/>
              <a:gdLst>
                <a:gd name="T0" fmla="*/ 45 w 178"/>
                <a:gd name="T1" fmla="*/ 102 h 124"/>
                <a:gd name="T2" fmla="*/ 1 w 178"/>
                <a:gd name="T3" fmla="*/ 123 h 124"/>
                <a:gd name="T4" fmla="*/ 0 w 178"/>
                <a:gd name="T5" fmla="*/ 123 h 124"/>
                <a:gd name="T6" fmla="*/ 0 w 178"/>
                <a:gd name="T7" fmla="*/ 123 h 124"/>
                <a:gd name="T8" fmla="*/ 1 w 178"/>
                <a:gd name="T9" fmla="*/ 124 h 124"/>
                <a:gd name="T10" fmla="*/ 45 w 178"/>
                <a:gd name="T11" fmla="*/ 102 h 124"/>
                <a:gd name="T12" fmla="*/ 45 w 178"/>
                <a:gd name="T13" fmla="*/ 102 h 124"/>
                <a:gd name="T14" fmla="*/ 178 w 178"/>
                <a:gd name="T15" fmla="*/ 0 h 124"/>
                <a:gd name="T16" fmla="*/ 158 w 178"/>
                <a:gd name="T17" fmla="*/ 19 h 124"/>
                <a:gd name="T18" fmla="*/ 158 w 178"/>
                <a:gd name="T19" fmla="*/ 19 h 124"/>
                <a:gd name="T20" fmla="*/ 178 w 178"/>
                <a:gd name="T2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8" h="124">
                  <a:moveTo>
                    <a:pt x="45" y="102"/>
                  </a:moveTo>
                  <a:cubicBezTo>
                    <a:pt x="31" y="110"/>
                    <a:pt x="16" y="117"/>
                    <a:pt x="1" y="123"/>
                  </a:cubicBezTo>
                  <a:cubicBezTo>
                    <a:pt x="1" y="123"/>
                    <a:pt x="1" y="123"/>
                    <a:pt x="0" y="123"/>
                  </a:cubicBezTo>
                  <a:cubicBezTo>
                    <a:pt x="0" y="123"/>
                    <a:pt x="0" y="123"/>
                    <a:pt x="0" y="123"/>
                  </a:cubicBezTo>
                  <a:cubicBezTo>
                    <a:pt x="1" y="124"/>
                    <a:pt x="1" y="124"/>
                    <a:pt x="1" y="124"/>
                  </a:cubicBezTo>
                  <a:cubicBezTo>
                    <a:pt x="16" y="117"/>
                    <a:pt x="31" y="110"/>
                    <a:pt x="45" y="102"/>
                  </a:cubicBezTo>
                  <a:cubicBezTo>
                    <a:pt x="45" y="102"/>
                    <a:pt x="45" y="102"/>
                    <a:pt x="45" y="102"/>
                  </a:cubicBezTo>
                  <a:moveTo>
                    <a:pt x="178" y="0"/>
                  </a:moveTo>
                  <a:cubicBezTo>
                    <a:pt x="172" y="6"/>
                    <a:pt x="165" y="13"/>
                    <a:pt x="158" y="19"/>
                  </a:cubicBezTo>
                  <a:cubicBezTo>
                    <a:pt x="158" y="19"/>
                    <a:pt x="158" y="19"/>
                    <a:pt x="158" y="19"/>
                  </a:cubicBezTo>
                  <a:cubicBezTo>
                    <a:pt x="165" y="13"/>
                    <a:pt x="172" y="6"/>
                    <a:pt x="178" y="0"/>
                  </a:cubicBezTo>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a:p>
          </p:txBody>
        </p:sp>
        <p:sp>
          <p:nvSpPr>
            <p:cNvPr id="114" name="Freeform 921">
              <a:extLst>
                <a:ext uri="{FF2B5EF4-FFF2-40B4-BE49-F238E27FC236}">
                  <a16:creationId xmlns:a16="http://schemas.microsoft.com/office/drawing/2014/main" id="{08B1497B-706D-584E-AC13-A6C2DAC7CDDC}"/>
                </a:ext>
              </a:extLst>
            </p:cNvPr>
            <p:cNvSpPr>
              <a:spLocks/>
            </p:cNvSpPr>
            <p:nvPr/>
          </p:nvSpPr>
          <p:spPr bwMode="auto">
            <a:xfrm rot="18900000">
              <a:off x="2812863" y="4902481"/>
              <a:ext cx="20397" cy="8158"/>
            </a:xfrm>
            <a:custGeom>
              <a:avLst/>
              <a:gdLst>
                <a:gd name="T0" fmla="*/ 0 w 5"/>
                <a:gd name="T1" fmla="*/ 0 h 2"/>
                <a:gd name="T2" fmla="*/ 5 w 5"/>
                <a:gd name="T3" fmla="*/ 2 h 2"/>
                <a:gd name="T4" fmla="*/ 5 w 5"/>
                <a:gd name="T5" fmla="*/ 2 h 2"/>
                <a:gd name="T6" fmla="*/ 0 w 5"/>
                <a:gd name="T7" fmla="*/ 0 h 2"/>
              </a:gdLst>
              <a:ahLst/>
              <a:cxnLst>
                <a:cxn ang="0">
                  <a:pos x="T0" y="T1"/>
                </a:cxn>
                <a:cxn ang="0">
                  <a:pos x="T2" y="T3"/>
                </a:cxn>
                <a:cxn ang="0">
                  <a:pos x="T4" y="T5"/>
                </a:cxn>
                <a:cxn ang="0">
                  <a:pos x="T6" y="T7"/>
                </a:cxn>
              </a:cxnLst>
              <a:rect l="0" t="0" r="r" b="b"/>
              <a:pathLst>
                <a:path w="5" h="2">
                  <a:moveTo>
                    <a:pt x="0" y="0"/>
                  </a:moveTo>
                  <a:cubicBezTo>
                    <a:pt x="5" y="2"/>
                    <a:pt x="5" y="2"/>
                    <a:pt x="5" y="2"/>
                  </a:cubicBezTo>
                  <a:cubicBezTo>
                    <a:pt x="5" y="2"/>
                    <a:pt x="5" y="2"/>
                    <a:pt x="5" y="2"/>
                  </a:cubicBezTo>
                  <a:cubicBezTo>
                    <a:pt x="4" y="1"/>
                    <a:pt x="3" y="1"/>
                    <a:pt x="0" y="0"/>
                  </a:cubicBezTo>
                </a:path>
              </a:pathLst>
            </a:custGeom>
            <a:solidFill>
              <a:srgbClr val="E5C06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a:p>
          </p:txBody>
        </p:sp>
        <p:sp>
          <p:nvSpPr>
            <p:cNvPr id="115" name="Freeform 922">
              <a:extLst>
                <a:ext uri="{FF2B5EF4-FFF2-40B4-BE49-F238E27FC236}">
                  <a16:creationId xmlns:a16="http://schemas.microsoft.com/office/drawing/2014/main" id="{131EDABF-883F-0349-B70E-655429B4C4FE}"/>
                </a:ext>
              </a:extLst>
            </p:cNvPr>
            <p:cNvSpPr>
              <a:spLocks/>
            </p:cNvSpPr>
            <p:nvPr/>
          </p:nvSpPr>
          <p:spPr bwMode="auto">
            <a:xfrm rot="18900000">
              <a:off x="2713850" y="4253797"/>
              <a:ext cx="465054" cy="340633"/>
            </a:xfrm>
            <a:custGeom>
              <a:avLst/>
              <a:gdLst>
                <a:gd name="T0" fmla="*/ 113 w 113"/>
                <a:gd name="T1" fmla="*/ 0 h 83"/>
                <a:gd name="T2" fmla="*/ 0 w 113"/>
                <a:gd name="T3" fmla="*/ 83 h 83"/>
                <a:gd name="T4" fmla="*/ 0 w 113"/>
                <a:gd name="T5" fmla="*/ 83 h 83"/>
                <a:gd name="T6" fmla="*/ 113 w 113"/>
                <a:gd name="T7" fmla="*/ 0 h 83"/>
                <a:gd name="T8" fmla="*/ 113 w 113"/>
                <a:gd name="T9" fmla="*/ 0 h 83"/>
              </a:gdLst>
              <a:ahLst/>
              <a:cxnLst>
                <a:cxn ang="0">
                  <a:pos x="T0" y="T1"/>
                </a:cxn>
                <a:cxn ang="0">
                  <a:pos x="T2" y="T3"/>
                </a:cxn>
                <a:cxn ang="0">
                  <a:pos x="T4" y="T5"/>
                </a:cxn>
                <a:cxn ang="0">
                  <a:pos x="T6" y="T7"/>
                </a:cxn>
                <a:cxn ang="0">
                  <a:pos x="T8" y="T9"/>
                </a:cxn>
              </a:cxnLst>
              <a:rect l="0" t="0" r="r" b="b"/>
              <a:pathLst>
                <a:path w="113" h="83">
                  <a:moveTo>
                    <a:pt x="113" y="0"/>
                  </a:moveTo>
                  <a:cubicBezTo>
                    <a:pt x="80" y="31"/>
                    <a:pt x="42" y="60"/>
                    <a:pt x="0" y="83"/>
                  </a:cubicBezTo>
                  <a:cubicBezTo>
                    <a:pt x="0" y="83"/>
                    <a:pt x="0" y="83"/>
                    <a:pt x="0" y="83"/>
                  </a:cubicBezTo>
                  <a:cubicBezTo>
                    <a:pt x="42" y="60"/>
                    <a:pt x="80" y="31"/>
                    <a:pt x="113" y="0"/>
                  </a:cubicBezTo>
                  <a:cubicBezTo>
                    <a:pt x="113" y="0"/>
                    <a:pt x="113" y="0"/>
                    <a:pt x="113" y="0"/>
                  </a:cubicBezTo>
                </a:path>
              </a:pathLst>
            </a:custGeom>
            <a:solidFill>
              <a:srgbClr val="264D6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a:p>
          </p:txBody>
        </p:sp>
        <p:sp>
          <p:nvSpPr>
            <p:cNvPr id="116" name="Freeform 923">
              <a:extLst>
                <a:ext uri="{FF2B5EF4-FFF2-40B4-BE49-F238E27FC236}">
                  <a16:creationId xmlns:a16="http://schemas.microsoft.com/office/drawing/2014/main" id="{A51A3CA8-A8DF-2841-A577-364A7595F97D}"/>
                </a:ext>
              </a:extLst>
            </p:cNvPr>
            <p:cNvSpPr>
              <a:spLocks/>
            </p:cNvSpPr>
            <p:nvPr/>
          </p:nvSpPr>
          <p:spPr bwMode="auto">
            <a:xfrm rot="18900000">
              <a:off x="2445620" y="2986661"/>
              <a:ext cx="715939" cy="872998"/>
            </a:xfrm>
            <a:custGeom>
              <a:avLst/>
              <a:gdLst>
                <a:gd name="T0" fmla="*/ 153 w 174"/>
                <a:gd name="T1" fmla="*/ 0 h 212"/>
                <a:gd name="T2" fmla="*/ 101 w 174"/>
                <a:gd name="T3" fmla="*/ 71 h 212"/>
                <a:gd name="T4" fmla="*/ 92 w 174"/>
                <a:gd name="T5" fmla="*/ 84 h 212"/>
                <a:gd name="T6" fmla="*/ 89 w 174"/>
                <a:gd name="T7" fmla="*/ 87 h 212"/>
                <a:gd name="T8" fmla="*/ 0 w 174"/>
                <a:gd name="T9" fmla="*/ 189 h 212"/>
                <a:gd name="T10" fmla="*/ 44 w 174"/>
                <a:gd name="T11" fmla="*/ 212 h 212"/>
                <a:gd name="T12" fmla="*/ 174 w 174"/>
                <a:gd name="T13" fmla="*/ 11 h 212"/>
                <a:gd name="T14" fmla="*/ 153 w 174"/>
                <a:gd name="T15" fmla="*/ 0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4" h="212">
                  <a:moveTo>
                    <a:pt x="153" y="0"/>
                  </a:moveTo>
                  <a:cubicBezTo>
                    <a:pt x="138" y="22"/>
                    <a:pt x="121" y="46"/>
                    <a:pt x="101" y="71"/>
                  </a:cubicBezTo>
                  <a:cubicBezTo>
                    <a:pt x="99" y="76"/>
                    <a:pt x="96" y="80"/>
                    <a:pt x="92" y="84"/>
                  </a:cubicBezTo>
                  <a:cubicBezTo>
                    <a:pt x="91" y="85"/>
                    <a:pt x="90" y="86"/>
                    <a:pt x="89" y="87"/>
                  </a:cubicBezTo>
                  <a:cubicBezTo>
                    <a:pt x="63" y="120"/>
                    <a:pt x="33" y="155"/>
                    <a:pt x="0" y="189"/>
                  </a:cubicBezTo>
                  <a:cubicBezTo>
                    <a:pt x="13" y="198"/>
                    <a:pt x="28" y="206"/>
                    <a:pt x="44" y="212"/>
                  </a:cubicBezTo>
                  <a:cubicBezTo>
                    <a:pt x="103" y="145"/>
                    <a:pt x="145" y="71"/>
                    <a:pt x="174" y="11"/>
                  </a:cubicBezTo>
                  <a:cubicBezTo>
                    <a:pt x="166" y="8"/>
                    <a:pt x="159" y="4"/>
                    <a:pt x="153" y="0"/>
                  </a:cubicBezTo>
                </a:path>
              </a:pathLst>
            </a:custGeom>
            <a:solidFill>
              <a:schemeClr val="tx1">
                <a:lumMod val="65000"/>
                <a:lumOff val="35000"/>
                <a:alpha val="32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a:p>
          </p:txBody>
        </p:sp>
        <p:sp>
          <p:nvSpPr>
            <p:cNvPr id="117" name="Freeform 924">
              <a:extLst>
                <a:ext uri="{FF2B5EF4-FFF2-40B4-BE49-F238E27FC236}">
                  <a16:creationId xmlns:a16="http://schemas.microsoft.com/office/drawing/2014/main" id="{3B0A04F4-A782-D841-9543-F9FD42433F04}"/>
                </a:ext>
              </a:extLst>
            </p:cNvPr>
            <p:cNvSpPr>
              <a:spLocks/>
            </p:cNvSpPr>
            <p:nvPr/>
          </p:nvSpPr>
          <p:spPr bwMode="auto">
            <a:xfrm rot="18900000">
              <a:off x="2534268" y="2492971"/>
              <a:ext cx="238647" cy="383467"/>
            </a:xfrm>
            <a:custGeom>
              <a:avLst/>
              <a:gdLst>
                <a:gd name="T0" fmla="*/ 58 w 58"/>
                <a:gd name="T1" fmla="*/ 0 h 93"/>
                <a:gd name="T2" fmla="*/ 52 w 58"/>
                <a:gd name="T3" fmla="*/ 1 h 93"/>
                <a:gd name="T4" fmla="*/ 0 w 58"/>
                <a:gd name="T5" fmla="*/ 83 h 93"/>
                <a:gd name="T6" fmla="*/ 20 w 58"/>
                <a:gd name="T7" fmla="*/ 93 h 93"/>
                <a:gd name="T8" fmla="*/ 58 w 58"/>
                <a:gd name="T9" fmla="*/ 0 h 93"/>
              </a:gdLst>
              <a:ahLst/>
              <a:cxnLst>
                <a:cxn ang="0">
                  <a:pos x="T0" y="T1"/>
                </a:cxn>
                <a:cxn ang="0">
                  <a:pos x="T2" y="T3"/>
                </a:cxn>
                <a:cxn ang="0">
                  <a:pos x="T4" y="T5"/>
                </a:cxn>
                <a:cxn ang="0">
                  <a:pos x="T6" y="T7"/>
                </a:cxn>
                <a:cxn ang="0">
                  <a:pos x="T8" y="T9"/>
                </a:cxn>
              </a:cxnLst>
              <a:rect l="0" t="0" r="r" b="b"/>
              <a:pathLst>
                <a:path w="58" h="93">
                  <a:moveTo>
                    <a:pt x="58" y="0"/>
                  </a:moveTo>
                  <a:cubicBezTo>
                    <a:pt x="52" y="1"/>
                    <a:pt x="52" y="1"/>
                    <a:pt x="52" y="1"/>
                  </a:cubicBezTo>
                  <a:cubicBezTo>
                    <a:pt x="41" y="20"/>
                    <a:pt x="24" y="49"/>
                    <a:pt x="0" y="83"/>
                  </a:cubicBezTo>
                  <a:cubicBezTo>
                    <a:pt x="6" y="87"/>
                    <a:pt x="13" y="90"/>
                    <a:pt x="20" y="93"/>
                  </a:cubicBezTo>
                  <a:cubicBezTo>
                    <a:pt x="39" y="53"/>
                    <a:pt x="51" y="20"/>
                    <a:pt x="58" y="0"/>
                  </a:cubicBezTo>
                </a:path>
              </a:pathLst>
            </a:custGeom>
            <a:solidFill>
              <a:schemeClr val="tx1">
                <a:lumMod val="65000"/>
                <a:lumOff val="35000"/>
                <a:alpha val="32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a:p>
          </p:txBody>
        </p:sp>
        <p:sp>
          <p:nvSpPr>
            <p:cNvPr id="118" name="Freeform 925">
              <a:extLst>
                <a:ext uri="{FF2B5EF4-FFF2-40B4-BE49-F238E27FC236}">
                  <a16:creationId xmlns:a16="http://schemas.microsoft.com/office/drawing/2014/main" id="{3DE594F8-F329-F744-9344-9B1CD8C102BE}"/>
                </a:ext>
              </a:extLst>
            </p:cNvPr>
            <p:cNvSpPr>
              <a:spLocks/>
            </p:cNvSpPr>
            <p:nvPr/>
          </p:nvSpPr>
          <p:spPr bwMode="auto">
            <a:xfrm rot="18900000">
              <a:off x="2353154" y="4078258"/>
              <a:ext cx="948466" cy="687383"/>
            </a:xfrm>
            <a:custGeom>
              <a:avLst/>
              <a:gdLst>
                <a:gd name="T0" fmla="*/ 188 w 231"/>
                <a:gd name="T1" fmla="*/ 0 h 167"/>
                <a:gd name="T2" fmla="*/ 0 w 231"/>
                <a:gd name="T3" fmla="*/ 147 h 167"/>
                <a:gd name="T4" fmla="*/ 29 w 231"/>
                <a:gd name="T5" fmla="*/ 165 h 167"/>
                <a:gd name="T6" fmla="*/ 34 w 231"/>
                <a:gd name="T7" fmla="*/ 167 h 167"/>
                <a:gd name="T8" fmla="*/ 35 w 231"/>
                <a:gd name="T9" fmla="*/ 167 h 167"/>
                <a:gd name="T10" fmla="*/ 79 w 231"/>
                <a:gd name="T11" fmla="*/ 146 h 167"/>
                <a:gd name="T12" fmla="*/ 192 w 231"/>
                <a:gd name="T13" fmla="*/ 63 h 167"/>
                <a:gd name="T14" fmla="*/ 212 w 231"/>
                <a:gd name="T15" fmla="*/ 44 h 167"/>
                <a:gd name="T16" fmla="*/ 231 w 231"/>
                <a:gd name="T17" fmla="*/ 23 h 167"/>
                <a:gd name="T18" fmla="*/ 188 w 231"/>
                <a:gd name="T1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67">
                  <a:moveTo>
                    <a:pt x="188" y="0"/>
                  </a:moveTo>
                  <a:cubicBezTo>
                    <a:pt x="133" y="55"/>
                    <a:pt x="70" y="108"/>
                    <a:pt x="0" y="147"/>
                  </a:cubicBezTo>
                  <a:cubicBezTo>
                    <a:pt x="29" y="165"/>
                    <a:pt x="29" y="165"/>
                    <a:pt x="29" y="165"/>
                  </a:cubicBezTo>
                  <a:cubicBezTo>
                    <a:pt x="32" y="166"/>
                    <a:pt x="33" y="166"/>
                    <a:pt x="34" y="167"/>
                  </a:cubicBezTo>
                  <a:cubicBezTo>
                    <a:pt x="35" y="167"/>
                    <a:pt x="35" y="167"/>
                    <a:pt x="35" y="167"/>
                  </a:cubicBezTo>
                  <a:cubicBezTo>
                    <a:pt x="50" y="161"/>
                    <a:pt x="65" y="154"/>
                    <a:pt x="79" y="146"/>
                  </a:cubicBezTo>
                  <a:cubicBezTo>
                    <a:pt x="121" y="123"/>
                    <a:pt x="159" y="94"/>
                    <a:pt x="192" y="63"/>
                  </a:cubicBezTo>
                  <a:cubicBezTo>
                    <a:pt x="199" y="57"/>
                    <a:pt x="206" y="50"/>
                    <a:pt x="212" y="44"/>
                  </a:cubicBezTo>
                  <a:cubicBezTo>
                    <a:pt x="219" y="37"/>
                    <a:pt x="225" y="30"/>
                    <a:pt x="231" y="23"/>
                  </a:cubicBezTo>
                  <a:cubicBezTo>
                    <a:pt x="215" y="17"/>
                    <a:pt x="201" y="9"/>
                    <a:pt x="188" y="0"/>
                  </a:cubicBezTo>
                </a:path>
              </a:pathLst>
            </a:custGeom>
            <a:solidFill>
              <a:schemeClr val="tx1">
                <a:lumMod val="65000"/>
                <a:lumOff val="35000"/>
                <a:alpha val="32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a:p>
          </p:txBody>
        </p:sp>
        <p:sp>
          <p:nvSpPr>
            <p:cNvPr id="119" name="Freeform 926">
              <a:extLst>
                <a:ext uri="{FF2B5EF4-FFF2-40B4-BE49-F238E27FC236}">
                  <a16:creationId xmlns:a16="http://schemas.microsoft.com/office/drawing/2014/main" id="{A4CA8680-7166-3942-B74C-956DC94C1EDC}"/>
                </a:ext>
              </a:extLst>
            </p:cNvPr>
            <p:cNvSpPr>
              <a:spLocks/>
            </p:cNvSpPr>
            <p:nvPr/>
          </p:nvSpPr>
          <p:spPr bwMode="auto">
            <a:xfrm rot="18900000">
              <a:off x="2671653" y="2843792"/>
              <a:ext cx="108104" cy="85668"/>
            </a:xfrm>
            <a:custGeom>
              <a:avLst/>
              <a:gdLst>
                <a:gd name="T0" fmla="*/ 6 w 26"/>
                <a:gd name="T1" fmla="*/ 0 h 21"/>
                <a:gd name="T2" fmla="*/ 0 w 26"/>
                <a:gd name="T3" fmla="*/ 10 h 21"/>
                <a:gd name="T4" fmla="*/ 21 w 26"/>
                <a:gd name="T5" fmla="*/ 21 h 21"/>
                <a:gd name="T6" fmla="*/ 26 w 26"/>
                <a:gd name="T7" fmla="*/ 10 h 21"/>
                <a:gd name="T8" fmla="*/ 6 w 26"/>
                <a:gd name="T9" fmla="*/ 0 h 21"/>
              </a:gdLst>
              <a:ahLst/>
              <a:cxnLst>
                <a:cxn ang="0">
                  <a:pos x="T0" y="T1"/>
                </a:cxn>
                <a:cxn ang="0">
                  <a:pos x="T2" y="T3"/>
                </a:cxn>
                <a:cxn ang="0">
                  <a:pos x="T4" y="T5"/>
                </a:cxn>
                <a:cxn ang="0">
                  <a:pos x="T6" y="T7"/>
                </a:cxn>
                <a:cxn ang="0">
                  <a:pos x="T8" y="T9"/>
                </a:cxn>
              </a:cxnLst>
              <a:rect l="0" t="0" r="r" b="b"/>
              <a:pathLst>
                <a:path w="26" h="21">
                  <a:moveTo>
                    <a:pt x="6" y="0"/>
                  </a:moveTo>
                  <a:cubicBezTo>
                    <a:pt x="4" y="4"/>
                    <a:pt x="2" y="7"/>
                    <a:pt x="0" y="10"/>
                  </a:cubicBezTo>
                  <a:cubicBezTo>
                    <a:pt x="6" y="14"/>
                    <a:pt x="13" y="18"/>
                    <a:pt x="21" y="21"/>
                  </a:cubicBezTo>
                  <a:cubicBezTo>
                    <a:pt x="23" y="17"/>
                    <a:pt x="25" y="13"/>
                    <a:pt x="26" y="10"/>
                  </a:cubicBezTo>
                  <a:cubicBezTo>
                    <a:pt x="19" y="7"/>
                    <a:pt x="12" y="4"/>
                    <a:pt x="6" y="0"/>
                  </a:cubicBezTo>
                </a:path>
              </a:pathLst>
            </a:custGeom>
            <a:solidFill>
              <a:schemeClr val="bg1">
                <a:lumMod val="8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a:p>
          </p:txBody>
        </p:sp>
        <p:sp>
          <p:nvSpPr>
            <p:cNvPr id="120" name="Freeform 927">
              <a:extLst>
                <a:ext uri="{FF2B5EF4-FFF2-40B4-BE49-F238E27FC236}">
                  <a16:creationId xmlns:a16="http://schemas.microsoft.com/office/drawing/2014/main" id="{8D2890B2-D466-FB4E-B021-26E814CEF74E}"/>
                </a:ext>
              </a:extLst>
            </p:cNvPr>
            <p:cNvSpPr>
              <a:spLocks/>
            </p:cNvSpPr>
            <p:nvPr/>
          </p:nvSpPr>
          <p:spPr bwMode="auto">
            <a:xfrm rot="18900000">
              <a:off x="2784484" y="3846827"/>
              <a:ext cx="214170" cy="130541"/>
            </a:xfrm>
            <a:custGeom>
              <a:avLst/>
              <a:gdLst>
                <a:gd name="T0" fmla="*/ 8 w 52"/>
                <a:gd name="T1" fmla="*/ 0 h 32"/>
                <a:gd name="T2" fmla="*/ 0 w 52"/>
                <a:gd name="T3" fmla="*/ 9 h 32"/>
                <a:gd name="T4" fmla="*/ 43 w 52"/>
                <a:gd name="T5" fmla="*/ 32 h 32"/>
                <a:gd name="T6" fmla="*/ 52 w 52"/>
                <a:gd name="T7" fmla="*/ 23 h 32"/>
                <a:gd name="T8" fmla="*/ 8 w 52"/>
                <a:gd name="T9" fmla="*/ 0 h 32"/>
              </a:gdLst>
              <a:ahLst/>
              <a:cxnLst>
                <a:cxn ang="0">
                  <a:pos x="T0" y="T1"/>
                </a:cxn>
                <a:cxn ang="0">
                  <a:pos x="T2" y="T3"/>
                </a:cxn>
                <a:cxn ang="0">
                  <a:pos x="T4" y="T5"/>
                </a:cxn>
                <a:cxn ang="0">
                  <a:pos x="T6" y="T7"/>
                </a:cxn>
                <a:cxn ang="0">
                  <a:pos x="T8" y="T9"/>
                </a:cxn>
              </a:cxnLst>
              <a:rect l="0" t="0" r="r" b="b"/>
              <a:pathLst>
                <a:path w="52" h="32">
                  <a:moveTo>
                    <a:pt x="8" y="0"/>
                  </a:moveTo>
                  <a:cubicBezTo>
                    <a:pt x="5" y="3"/>
                    <a:pt x="2" y="6"/>
                    <a:pt x="0" y="9"/>
                  </a:cubicBezTo>
                  <a:cubicBezTo>
                    <a:pt x="13" y="18"/>
                    <a:pt x="27" y="26"/>
                    <a:pt x="43" y="32"/>
                  </a:cubicBezTo>
                  <a:cubicBezTo>
                    <a:pt x="46" y="29"/>
                    <a:pt x="49" y="26"/>
                    <a:pt x="52" y="23"/>
                  </a:cubicBezTo>
                  <a:cubicBezTo>
                    <a:pt x="36" y="17"/>
                    <a:pt x="21" y="9"/>
                    <a:pt x="8" y="0"/>
                  </a:cubicBezTo>
                </a:path>
              </a:pathLst>
            </a:custGeom>
            <a:solidFill>
              <a:schemeClr val="bg1">
                <a:lumMod val="8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a:p>
          </p:txBody>
        </p:sp>
        <p:sp>
          <p:nvSpPr>
            <p:cNvPr id="121" name="Freeform 928">
              <a:extLst>
                <a:ext uri="{FF2B5EF4-FFF2-40B4-BE49-F238E27FC236}">
                  <a16:creationId xmlns:a16="http://schemas.microsoft.com/office/drawing/2014/main" id="{E6095D27-F10B-D04A-8569-B684CD0D762E}"/>
                </a:ext>
              </a:extLst>
            </p:cNvPr>
            <p:cNvSpPr>
              <a:spLocks/>
            </p:cNvSpPr>
            <p:nvPr/>
          </p:nvSpPr>
          <p:spPr bwMode="auto">
            <a:xfrm rot="18900000">
              <a:off x="2543246" y="2381907"/>
              <a:ext cx="59152" cy="97906"/>
            </a:xfrm>
            <a:custGeom>
              <a:avLst/>
              <a:gdLst>
                <a:gd name="T0" fmla="*/ 14 w 14"/>
                <a:gd name="T1" fmla="*/ 0 h 24"/>
                <a:gd name="T2" fmla="*/ 13 w 14"/>
                <a:gd name="T3" fmla="*/ 0 h 24"/>
                <a:gd name="T4" fmla="*/ 0 w 14"/>
                <a:gd name="T5" fmla="*/ 24 h 24"/>
                <a:gd name="T6" fmla="*/ 6 w 14"/>
                <a:gd name="T7" fmla="*/ 23 h 24"/>
                <a:gd name="T8" fmla="*/ 14 w 14"/>
                <a:gd name="T9" fmla="*/ 0 h 24"/>
              </a:gdLst>
              <a:ahLst/>
              <a:cxnLst>
                <a:cxn ang="0">
                  <a:pos x="T0" y="T1"/>
                </a:cxn>
                <a:cxn ang="0">
                  <a:pos x="T2" y="T3"/>
                </a:cxn>
                <a:cxn ang="0">
                  <a:pos x="T4" y="T5"/>
                </a:cxn>
                <a:cxn ang="0">
                  <a:pos x="T6" y="T7"/>
                </a:cxn>
                <a:cxn ang="0">
                  <a:pos x="T8" y="T9"/>
                </a:cxn>
              </a:cxnLst>
              <a:rect l="0" t="0" r="r" b="b"/>
              <a:pathLst>
                <a:path w="14" h="24">
                  <a:moveTo>
                    <a:pt x="14" y="0"/>
                  </a:moveTo>
                  <a:cubicBezTo>
                    <a:pt x="13" y="0"/>
                    <a:pt x="13" y="0"/>
                    <a:pt x="13" y="0"/>
                  </a:cubicBezTo>
                  <a:cubicBezTo>
                    <a:pt x="13" y="0"/>
                    <a:pt x="9" y="9"/>
                    <a:pt x="0" y="24"/>
                  </a:cubicBezTo>
                  <a:cubicBezTo>
                    <a:pt x="6" y="23"/>
                    <a:pt x="6" y="23"/>
                    <a:pt x="6" y="23"/>
                  </a:cubicBezTo>
                  <a:cubicBezTo>
                    <a:pt x="10" y="10"/>
                    <a:pt x="13" y="2"/>
                    <a:pt x="14" y="0"/>
                  </a:cubicBezTo>
                </a:path>
              </a:pathLst>
            </a:custGeom>
            <a:solidFill>
              <a:srgbClr val="4A4A4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a:p>
          </p:txBody>
        </p:sp>
        <p:sp>
          <p:nvSpPr>
            <p:cNvPr id="122" name="Freeform 929">
              <a:extLst>
                <a:ext uri="{FF2B5EF4-FFF2-40B4-BE49-F238E27FC236}">
                  <a16:creationId xmlns:a16="http://schemas.microsoft.com/office/drawing/2014/main" id="{B4BC3EFD-CCF1-A644-876D-9AC83473869B}"/>
                </a:ext>
              </a:extLst>
            </p:cNvPr>
            <p:cNvSpPr>
              <a:spLocks/>
            </p:cNvSpPr>
            <p:nvPr/>
          </p:nvSpPr>
          <p:spPr bwMode="auto">
            <a:xfrm rot="18900000">
              <a:off x="2722565" y="3287822"/>
              <a:ext cx="50992" cy="67311"/>
            </a:xfrm>
            <a:custGeom>
              <a:avLst/>
              <a:gdLst>
                <a:gd name="T0" fmla="*/ 12 w 12"/>
                <a:gd name="T1" fmla="*/ 0 h 16"/>
                <a:gd name="T2" fmla="*/ 0 w 12"/>
                <a:gd name="T3" fmla="*/ 16 h 16"/>
                <a:gd name="T4" fmla="*/ 3 w 12"/>
                <a:gd name="T5" fmla="*/ 13 h 16"/>
                <a:gd name="T6" fmla="*/ 12 w 12"/>
                <a:gd name="T7" fmla="*/ 0 h 16"/>
              </a:gdLst>
              <a:ahLst/>
              <a:cxnLst>
                <a:cxn ang="0">
                  <a:pos x="T0" y="T1"/>
                </a:cxn>
                <a:cxn ang="0">
                  <a:pos x="T2" y="T3"/>
                </a:cxn>
                <a:cxn ang="0">
                  <a:pos x="T4" y="T5"/>
                </a:cxn>
                <a:cxn ang="0">
                  <a:pos x="T6" y="T7"/>
                </a:cxn>
              </a:cxnLst>
              <a:rect l="0" t="0" r="r" b="b"/>
              <a:pathLst>
                <a:path w="12" h="16">
                  <a:moveTo>
                    <a:pt x="12" y="0"/>
                  </a:moveTo>
                  <a:cubicBezTo>
                    <a:pt x="8" y="5"/>
                    <a:pt x="5" y="11"/>
                    <a:pt x="0" y="16"/>
                  </a:cubicBezTo>
                  <a:cubicBezTo>
                    <a:pt x="1" y="15"/>
                    <a:pt x="2" y="14"/>
                    <a:pt x="3" y="13"/>
                  </a:cubicBezTo>
                  <a:cubicBezTo>
                    <a:pt x="7" y="9"/>
                    <a:pt x="10" y="5"/>
                    <a:pt x="12" y="0"/>
                  </a:cubicBezTo>
                </a:path>
              </a:pathLst>
            </a:custGeom>
            <a:solidFill>
              <a:schemeClr val="bg1">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aseline="30000"/>
            </a:p>
          </p:txBody>
        </p:sp>
      </p:grpSp>
      <p:grpSp>
        <p:nvGrpSpPr>
          <p:cNvPr id="123" name="Gruppieren 122">
            <a:extLst>
              <a:ext uri="{FF2B5EF4-FFF2-40B4-BE49-F238E27FC236}">
                <a16:creationId xmlns:a16="http://schemas.microsoft.com/office/drawing/2014/main" id="{0D5B0DBA-1C77-964F-A412-6C3225DB191C}"/>
              </a:ext>
            </a:extLst>
          </p:cNvPr>
          <p:cNvGrpSpPr/>
          <p:nvPr/>
        </p:nvGrpSpPr>
        <p:grpSpPr>
          <a:xfrm>
            <a:off x="5382112" y="2313938"/>
            <a:ext cx="383575" cy="3318668"/>
            <a:chOff x="4818963" y="2170323"/>
            <a:chExt cx="383817" cy="3320759"/>
          </a:xfrm>
        </p:grpSpPr>
        <p:cxnSp>
          <p:nvCxnSpPr>
            <p:cNvPr id="124" name="Straight Connector 12">
              <a:extLst>
                <a:ext uri="{FF2B5EF4-FFF2-40B4-BE49-F238E27FC236}">
                  <a16:creationId xmlns:a16="http://schemas.microsoft.com/office/drawing/2014/main" id="{7F774EB8-CB79-2A42-98D7-AF7AADE81466}"/>
                </a:ext>
              </a:extLst>
            </p:cNvPr>
            <p:cNvCxnSpPr>
              <a:cxnSpLocks/>
            </p:cNvCxnSpPr>
            <p:nvPr/>
          </p:nvCxnSpPr>
          <p:spPr bwMode="auto">
            <a:xfrm>
              <a:off x="4818963" y="3741668"/>
              <a:ext cx="360000" cy="0"/>
            </a:xfrm>
            <a:prstGeom prst="line">
              <a:avLst/>
            </a:prstGeom>
            <a:solidFill>
              <a:srgbClr val="FFFFFF"/>
            </a:solidFill>
            <a:ln w="19050" cap="flat" cmpd="sng" algn="ctr">
              <a:solidFill>
                <a:schemeClr val="tx2"/>
              </a:solidFill>
              <a:prstDash val="solid"/>
              <a:round/>
              <a:headEnd type="none" w="med" len="med"/>
              <a:tailEnd type="none" w="med" len="med"/>
            </a:ln>
            <a:effectLst/>
          </p:spPr>
        </p:cxnSp>
        <p:cxnSp>
          <p:nvCxnSpPr>
            <p:cNvPr id="125" name="Straight Connector 49">
              <a:extLst>
                <a:ext uri="{FF2B5EF4-FFF2-40B4-BE49-F238E27FC236}">
                  <a16:creationId xmlns:a16="http://schemas.microsoft.com/office/drawing/2014/main" id="{06B5B788-CFFC-CB4D-8E05-EA58BC2C5615}"/>
                </a:ext>
              </a:extLst>
            </p:cNvPr>
            <p:cNvCxnSpPr>
              <a:cxnSpLocks/>
            </p:cNvCxnSpPr>
            <p:nvPr/>
          </p:nvCxnSpPr>
          <p:spPr bwMode="auto">
            <a:xfrm>
              <a:off x="5202780" y="2170323"/>
              <a:ext cx="0" cy="3320759"/>
            </a:xfrm>
            <a:prstGeom prst="line">
              <a:avLst/>
            </a:prstGeom>
            <a:solidFill>
              <a:srgbClr val="FFFFFF"/>
            </a:solidFill>
            <a:ln w="19050" cap="flat" cmpd="sng" algn="ctr">
              <a:solidFill>
                <a:schemeClr val="tx2"/>
              </a:solidFill>
              <a:prstDash val="solid"/>
              <a:round/>
              <a:headEnd type="none" w="med" len="med"/>
              <a:tailEnd type="none" w="med" len="med"/>
            </a:ln>
            <a:effectLst/>
          </p:spPr>
        </p:cxnSp>
      </p:grpSp>
      <p:sp>
        <p:nvSpPr>
          <p:cNvPr id="126" name="Textfeld 125">
            <a:extLst>
              <a:ext uri="{FF2B5EF4-FFF2-40B4-BE49-F238E27FC236}">
                <a16:creationId xmlns:a16="http://schemas.microsoft.com/office/drawing/2014/main" id="{33E2243C-239B-B04C-9607-584F43B0679A}"/>
              </a:ext>
            </a:extLst>
          </p:cNvPr>
          <p:cNvSpPr txBox="1"/>
          <p:nvPr/>
        </p:nvSpPr>
        <p:spPr>
          <a:xfrm>
            <a:off x="6107124" y="2055413"/>
            <a:ext cx="5700569" cy="3970318"/>
          </a:xfrm>
          <a:prstGeom prst="rect">
            <a:avLst/>
          </a:prstGeom>
          <a:noFill/>
        </p:spPr>
        <p:txBody>
          <a:bodyPr wrap="square" rtlCol="0">
            <a:spAutoFit/>
          </a:bodyPr>
          <a:lstStyle/>
          <a:p>
            <a:pPr marL="285750" indent="-285750">
              <a:buFont typeface="Arial" panose="020B0604020202020204" pitchFamily="34" charset="0"/>
              <a:buChar char="•"/>
            </a:pPr>
            <a:r>
              <a:rPr lang="de-DE" altLang="de-DE" dirty="0">
                <a:solidFill>
                  <a:schemeClr val="tx1">
                    <a:lumMod val="65000"/>
                    <a:lumOff val="35000"/>
                  </a:schemeClr>
                </a:solidFill>
                <a:latin typeface="Tahoma"/>
              </a:rPr>
              <a:t>Die Erziehungsberechtigten der Schulneulinge werden frühzeitig (im September des Vorjahres) durch den Schulträger schriftlich über die bevorstehende Einschulung informiert</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Die Anmeldetermine sind in der Regel nach den Herbstferien</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Die Anmeldung erfolgt zu diesen Terminen (spätestens zum 15. November) zusammen mit dem Kind an der gewünschten Grundschule</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Die Eltern können die Grundschule frei wählen, ein Anspruch auf Aufnahme besteht jedoch nur in die der Wohnung des Kindes nächstgelegene Grundschule der gewünschten Schulart im Rahmen der festgelegten Aufnahmekapazitäten</a:t>
            </a:r>
          </a:p>
        </p:txBody>
      </p:sp>
    </p:spTree>
    <p:extLst>
      <p:ext uri="{BB962C8B-B14F-4D97-AF65-F5344CB8AC3E}">
        <p14:creationId xmlns:p14="http://schemas.microsoft.com/office/powerpoint/2010/main" val="36868884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F8E01B9D-5B0D-ED48-93FD-8B9F129C122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179"/>
          <a:stretch/>
        </p:blipFill>
        <p:spPr>
          <a:xfrm>
            <a:off x="-23924" y="220711"/>
            <a:ext cx="12384090" cy="1452195"/>
          </a:xfrm>
          <a:prstGeom prst="rect">
            <a:avLst/>
          </a:prstGeom>
        </p:spPr>
      </p:pic>
      <p:sp>
        <p:nvSpPr>
          <p:cNvPr id="53" name="Rectangle 21">
            <a:extLst>
              <a:ext uri="{FF2B5EF4-FFF2-40B4-BE49-F238E27FC236}">
                <a16:creationId xmlns:a16="http://schemas.microsoft.com/office/drawing/2014/main" id="{66D3B711-11C4-0A42-9372-FA79243F9672}"/>
              </a:ext>
            </a:extLst>
          </p:cNvPr>
          <p:cNvSpPr/>
          <p:nvPr/>
        </p:nvSpPr>
        <p:spPr bwMode="auto">
          <a:xfrm>
            <a:off x="-23925" y="209637"/>
            <a:ext cx="12239849" cy="1452196"/>
          </a:xfrm>
          <a:prstGeom prst="rect">
            <a:avLst/>
          </a:prstGeom>
          <a:solidFill>
            <a:schemeClr val="tx2">
              <a:lumMod val="60000"/>
              <a:lumOff val="40000"/>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2" name="Titel 1">
            <a:extLst>
              <a:ext uri="{FF2B5EF4-FFF2-40B4-BE49-F238E27FC236}">
                <a16:creationId xmlns:a16="http://schemas.microsoft.com/office/drawing/2014/main" id="{8DBD732E-255D-5641-835F-7822FEFB1A84}"/>
              </a:ext>
            </a:extLst>
          </p:cNvPr>
          <p:cNvSpPr>
            <a:spLocks noGrp="1"/>
          </p:cNvSpPr>
          <p:nvPr>
            <p:ph type="title"/>
          </p:nvPr>
        </p:nvSpPr>
        <p:spPr>
          <a:xfrm>
            <a:off x="373172" y="771272"/>
            <a:ext cx="11445656" cy="797082"/>
          </a:xfrm>
        </p:spPr>
        <p:txBody>
          <a:bodyPr/>
          <a:lstStyle/>
          <a:p>
            <a:r>
              <a:rPr lang="de-DE" dirty="0">
                <a:solidFill>
                  <a:schemeClr val="bg1"/>
                </a:solidFill>
                <a:latin typeface="Tahoma" panose="020B0604030504040204" pitchFamily="34" charset="0"/>
                <a:ea typeface="Tahoma" panose="020B0604030504040204" pitchFamily="34" charset="0"/>
                <a:cs typeface="Tahoma" panose="020B0604030504040204" pitchFamily="34" charset="0"/>
              </a:rPr>
              <a:t>Sprachförderung-Einschulung</a:t>
            </a:r>
          </a:p>
        </p:txBody>
      </p:sp>
      <p:sp>
        <p:nvSpPr>
          <p:cNvPr id="3" name="Textplatzhalter 2">
            <a:extLst>
              <a:ext uri="{FF2B5EF4-FFF2-40B4-BE49-F238E27FC236}">
                <a16:creationId xmlns:a16="http://schemas.microsoft.com/office/drawing/2014/main" id="{372F9084-4CAF-5A4B-B2B8-887F658B4A98}"/>
              </a:ext>
            </a:extLst>
          </p:cNvPr>
          <p:cNvSpPr>
            <a:spLocks noGrp="1"/>
          </p:cNvSpPr>
          <p:nvPr>
            <p:ph type="body" sz="quarter" idx="10"/>
          </p:nvPr>
        </p:nvSpPr>
        <p:spPr>
          <a:xfrm>
            <a:off x="373172" y="369140"/>
            <a:ext cx="5334843" cy="314948"/>
          </a:xfrm>
        </p:spPr>
        <p:txBody>
          <a:bodyPr/>
          <a:lstStyle/>
          <a:p>
            <a:r>
              <a:rPr lang="de-DE" dirty="0">
                <a:solidFill>
                  <a:schemeClr val="bg1"/>
                </a:solidFill>
              </a:rPr>
              <a:t>ANMELDUNG</a:t>
            </a:r>
          </a:p>
        </p:txBody>
      </p:sp>
      <p:sp>
        <p:nvSpPr>
          <p:cNvPr id="89" name="Textfeld 88">
            <a:extLst>
              <a:ext uri="{FF2B5EF4-FFF2-40B4-BE49-F238E27FC236}">
                <a16:creationId xmlns:a16="http://schemas.microsoft.com/office/drawing/2014/main" id="{7D56F486-26F6-904F-9460-6C9B84D656C4}"/>
              </a:ext>
            </a:extLst>
          </p:cNvPr>
          <p:cNvSpPr txBox="1"/>
          <p:nvPr/>
        </p:nvSpPr>
        <p:spPr>
          <a:xfrm>
            <a:off x="1806958" y="1760090"/>
            <a:ext cx="4287495" cy="333993"/>
          </a:xfrm>
          <a:prstGeom prst="rect">
            <a:avLst/>
          </a:prstGeom>
        </p:spPr>
        <p:txBody>
          <a:bodyPr wrap="square" rtlCol="0">
            <a:spAutoFit/>
          </a:bodyPr>
          <a:lstStyle/>
          <a:p>
            <a:pPr defTabSz="1041900">
              <a:defRPr/>
            </a:pPr>
            <a:endParaRPr lang="de-DE" sz="2099" kern="0" dirty="0">
              <a:solidFill>
                <a:srgbClr val="404040"/>
              </a:solidFill>
              <a:latin typeface="Tahoma"/>
            </a:endParaRPr>
          </a:p>
        </p:txBody>
      </p:sp>
      <p:grpSp>
        <p:nvGrpSpPr>
          <p:cNvPr id="123" name="Gruppieren 122">
            <a:extLst>
              <a:ext uri="{FF2B5EF4-FFF2-40B4-BE49-F238E27FC236}">
                <a16:creationId xmlns:a16="http://schemas.microsoft.com/office/drawing/2014/main" id="{0D5B0DBA-1C77-964F-A412-6C3225DB191C}"/>
              </a:ext>
            </a:extLst>
          </p:cNvPr>
          <p:cNvGrpSpPr/>
          <p:nvPr/>
        </p:nvGrpSpPr>
        <p:grpSpPr>
          <a:xfrm>
            <a:off x="5382112" y="2313938"/>
            <a:ext cx="383575" cy="3318668"/>
            <a:chOff x="4818963" y="2170323"/>
            <a:chExt cx="383817" cy="3320759"/>
          </a:xfrm>
        </p:grpSpPr>
        <p:cxnSp>
          <p:nvCxnSpPr>
            <p:cNvPr id="124" name="Straight Connector 12">
              <a:extLst>
                <a:ext uri="{FF2B5EF4-FFF2-40B4-BE49-F238E27FC236}">
                  <a16:creationId xmlns:a16="http://schemas.microsoft.com/office/drawing/2014/main" id="{7F774EB8-CB79-2A42-98D7-AF7AADE81466}"/>
                </a:ext>
              </a:extLst>
            </p:cNvPr>
            <p:cNvCxnSpPr>
              <a:cxnSpLocks/>
            </p:cNvCxnSpPr>
            <p:nvPr/>
          </p:nvCxnSpPr>
          <p:spPr bwMode="auto">
            <a:xfrm>
              <a:off x="4818963" y="3741668"/>
              <a:ext cx="360000" cy="0"/>
            </a:xfrm>
            <a:prstGeom prst="line">
              <a:avLst/>
            </a:prstGeom>
            <a:solidFill>
              <a:srgbClr val="FFFFFF"/>
            </a:solidFill>
            <a:ln w="19050" cap="flat" cmpd="sng" algn="ctr">
              <a:solidFill>
                <a:schemeClr val="tx2"/>
              </a:solidFill>
              <a:prstDash val="solid"/>
              <a:round/>
              <a:headEnd type="none" w="med" len="med"/>
              <a:tailEnd type="none" w="med" len="med"/>
            </a:ln>
            <a:effectLst/>
          </p:spPr>
        </p:cxnSp>
        <p:cxnSp>
          <p:nvCxnSpPr>
            <p:cNvPr id="125" name="Straight Connector 49">
              <a:extLst>
                <a:ext uri="{FF2B5EF4-FFF2-40B4-BE49-F238E27FC236}">
                  <a16:creationId xmlns:a16="http://schemas.microsoft.com/office/drawing/2014/main" id="{06B5B788-CFFC-CB4D-8E05-EA58BC2C5615}"/>
                </a:ext>
              </a:extLst>
            </p:cNvPr>
            <p:cNvCxnSpPr>
              <a:cxnSpLocks/>
            </p:cNvCxnSpPr>
            <p:nvPr/>
          </p:nvCxnSpPr>
          <p:spPr bwMode="auto">
            <a:xfrm>
              <a:off x="5202780" y="2170323"/>
              <a:ext cx="0" cy="3320759"/>
            </a:xfrm>
            <a:prstGeom prst="line">
              <a:avLst/>
            </a:prstGeom>
            <a:solidFill>
              <a:srgbClr val="FFFFFF"/>
            </a:solidFill>
            <a:ln w="19050" cap="flat" cmpd="sng" algn="ctr">
              <a:solidFill>
                <a:schemeClr val="tx2"/>
              </a:solidFill>
              <a:prstDash val="solid"/>
              <a:round/>
              <a:headEnd type="none" w="med" len="med"/>
              <a:tailEnd type="none" w="med" len="med"/>
            </a:ln>
            <a:effectLst/>
          </p:spPr>
        </p:cxnSp>
      </p:grpSp>
      <p:sp>
        <p:nvSpPr>
          <p:cNvPr id="126" name="Textfeld 125">
            <a:extLst>
              <a:ext uri="{FF2B5EF4-FFF2-40B4-BE49-F238E27FC236}">
                <a16:creationId xmlns:a16="http://schemas.microsoft.com/office/drawing/2014/main" id="{33E2243C-239B-B04C-9607-584F43B0679A}"/>
              </a:ext>
            </a:extLst>
          </p:cNvPr>
          <p:cNvSpPr txBox="1"/>
          <p:nvPr/>
        </p:nvSpPr>
        <p:spPr>
          <a:xfrm>
            <a:off x="6071642" y="2588987"/>
            <a:ext cx="5549340" cy="2585323"/>
          </a:xfrm>
          <a:prstGeom prst="rect">
            <a:avLst/>
          </a:prstGeom>
          <a:noFill/>
        </p:spPr>
        <p:txBody>
          <a:bodyPr wrap="square" rtlCol="0">
            <a:spAutoFit/>
          </a:bodyPr>
          <a:lstStyle/>
          <a:p>
            <a:pPr marL="285750" indent="-285750">
              <a:buFont typeface="Arial" panose="020B0604020202020204" pitchFamily="34" charset="0"/>
              <a:buChar char="•"/>
            </a:pPr>
            <a:r>
              <a:rPr lang="de-DE" altLang="de-DE" dirty="0">
                <a:solidFill>
                  <a:schemeClr val="tx1">
                    <a:lumMod val="65000"/>
                    <a:lumOff val="35000"/>
                  </a:schemeClr>
                </a:solidFill>
                <a:latin typeface="Tahoma"/>
              </a:rPr>
              <a:t>Bei der Anmeldung zur Grundschule stellt die Schule fest, ob die Kinder die deutsche Sprache hinreichend beherrschen, um im Unterricht mitarbeiten zu können</a:t>
            </a:r>
          </a:p>
          <a:p>
            <a:pPr marL="285750" indent="-285750">
              <a:buFont typeface="Arial" panose="020B0604020202020204" pitchFamily="34" charset="0"/>
              <a:buChar char="•"/>
            </a:pPr>
            <a:r>
              <a:rPr lang="de-DE" altLang="de-DE" dirty="0">
                <a:solidFill>
                  <a:schemeClr val="tx1">
                    <a:lumMod val="65000"/>
                    <a:lumOff val="35000"/>
                  </a:schemeClr>
                </a:solidFill>
                <a:latin typeface="Tahoma"/>
              </a:rPr>
              <a:t>Die Schule soll Kinder ohne die erforderlichen Sprachkenntnisse zum Besuch einer vorschulischen Sprachförderung verpflichten, soweit sie nicht bereits in einer Tageseinrichtung für Kinder entsprechend gefördert werden</a:t>
            </a:r>
          </a:p>
        </p:txBody>
      </p:sp>
      <p:grpSp>
        <p:nvGrpSpPr>
          <p:cNvPr id="38" name="Group 3">
            <a:extLst>
              <a:ext uri="{FF2B5EF4-FFF2-40B4-BE49-F238E27FC236}">
                <a16:creationId xmlns:a16="http://schemas.microsoft.com/office/drawing/2014/main" id="{A637E093-7463-C745-8486-F2947C817275}"/>
              </a:ext>
            </a:extLst>
          </p:cNvPr>
          <p:cNvGrpSpPr/>
          <p:nvPr/>
        </p:nvGrpSpPr>
        <p:grpSpPr>
          <a:xfrm>
            <a:off x="814458" y="2212394"/>
            <a:ext cx="4396936" cy="3183239"/>
            <a:chOff x="2690019" y="846139"/>
            <a:chExt cx="3536950" cy="2560637"/>
          </a:xfrm>
        </p:grpSpPr>
        <p:sp>
          <p:nvSpPr>
            <p:cNvPr id="49" name="Freeform 6">
              <a:extLst>
                <a:ext uri="{FF2B5EF4-FFF2-40B4-BE49-F238E27FC236}">
                  <a16:creationId xmlns:a16="http://schemas.microsoft.com/office/drawing/2014/main" id="{7BDE0BA2-20AB-C147-9EAA-8E6568F4040E}"/>
                </a:ext>
              </a:extLst>
            </p:cNvPr>
            <p:cNvSpPr>
              <a:spLocks/>
            </p:cNvSpPr>
            <p:nvPr/>
          </p:nvSpPr>
          <p:spPr bwMode="auto">
            <a:xfrm>
              <a:off x="3572669" y="2443164"/>
              <a:ext cx="504825" cy="506413"/>
            </a:xfrm>
            <a:custGeom>
              <a:avLst/>
              <a:gdLst>
                <a:gd name="T0" fmla="*/ 174 w 314"/>
                <a:gd name="T1" fmla="*/ 277 h 315"/>
                <a:gd name="T2" fmla="*/ 37 w 314"/>
                <a:gd name="T3" fmla="*/ 277 h 315"/>
                <a:gd name="T4" fmla="*/ 37 w 314"/>
                <a:gd name="T5" fmla="*/ 277 h 315"/>
                <a:gd name="T6" fmla="*/ 37 w 314"/>
                <a:gd name="T7" fmla="*/ 141 h 315"/>
                <a:gd name="T8" fmla="*/ 140 w 314"/>
                <a:gd name="T9" fmla="*/ 38 h 315"/>
                <a:gd name="T10" fmla="*/ 277 w 314"/>
                <a:gd name="T11" fmla="*/ 38 h 315"/>
                <a:gd name="T12" fmla="*/ 277 w 314"/>
                <a:gd name="T13" fmla="*/ 38 h 315"/>
                <a:gd name="T14" fmla="*/ 277 w 314"/>
                <a:gd name="T15" fmla="*/ 174 h 315"/>
                <a:gd name="T16" fmla="*/ 174 w 314"/>
                <a:gd name="T17" fmla="*/ 277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4" h="315">
                  <a:moveTo>
                    <a:pt x="174" y="277"/>
                  </a:moveTo>
                  <a:cubicBezTo>
                    <a:pt x="136" y="315"/>
                    <a:pt x="75" y="315"/>
                    <a:pt x="37" y="277"/>
                  </a:cubicBezTo>
                  <a:cubicBezTo>
                    <a:pt x="37" y="277"/>
                    <a:pt x="37" y="277"/>
                    <a:pt x="37" y="277"/>
                  </a:cubicBezTo>
                  <a:cubicBezTo>
                    <a:pt x="0" y="240"/>
                    <a:pt x="0" y="179"/>
                    <a:pt x="37" y="141"/>
                  </a:cubicBezTo>
                  <a:cubicBezTo>
                    <a:pt x="140" y="38"/>
                    <a:pt x="140" y="38"/>
                    <a:pt x="140" y="38"/>
                  </a:cubicBezTo>
                  <a:cubicBezTo>
                    <a:pt x="178" y="0"/>
                    <a:pt x="239" y="0"/>
                    <a:pt x="277" y="38"/>
                  </a:cubicBezTo>
                  <a:cubicBezTo>
                    <a:pt x="277" y="38"/>
                    <a:pt x="277" y="38"/>
                    <a:pt x="277" y="38"/>
                  </a:cubicBezTo>
                  <a:cubicBezTo>
                    <a:pt x="314" y="76"/>
                    <a:pt x="314" y="137"/>
                    <a:pt x="277" y="174"/>
                  </a:cubicBezTo>
                  <a:lnTo>
                    <a:pt x="174" y="277"/>
                  </a:lnTo>
                  <a:close/>
                </a:path>
              </a:pathLst>
            </a:custGeom>
            <a:solidFill>
              <a:srgbClr val="FFFFFF"/>
            </a:solidFill>
            <a:ln w="76200" cap="rnd" cmpd="sng" algn="ctr">
              <a:solidFill>
                <a:srgbClr val="0040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0" name="Freeform 7">
              <a:extLst>
                <a:ext uri="{FF2B5EF4-FFF2-40B4-BE49-F238E27FC236}">
                  <a16:creationId xmlns:a16="http://schemas.microsoft.com/office/drawing/2014/main" id="{D03B7595-37B1-5D43-A577-FBDCD9A67483}"/>
                </a:ext>
              </a:extLst>
            </p:cNvPr>
            <p:cNvSpPr>
              <a:spLocks/>
            </p:cNvSpPr>
            <p:nvPr/>
          </p:nvSpPr>
          <p:spPr bwMode="auto">
            <a:xfrm>
              <a:off x="4096544" y="2959101"/>
              <a:ext cx="449263" cy="447675"/>
            </a:xfrm>
            <a:custGeom>
              <a:avLst/>
              <a:gdLst>
                <a:gd name="T0" fmla="*/ 174 w 280"/>
                <a:gd name="T1" fmla="*/ 242 h 279"/>
                <a:gd name="T2" fmla="*/ 38 w 280"/>
                <a:gd name="T3" fmla="*/ 242 h 279"/>
                <a:gd name="T4" fmla="*/ 38 w 280"/>
                <a:gd name="T5" fmla="*/ 242 h 279"/>
                <a:gd name="T6" fmla="*/ 38 w 280"/>
                <a:gd name="T7" fmla="*/ 105 h 279"/>
                <a:gd name="T8" fmla="*/ 106 w 280"/>
                <a:gd name="T9" fmla="*/ 37 h 279"/>
                <a:gd name="T10" fmla="*/ 242 w 280"/>
                <a:gd name="T11" fmla="*/ 37 h 279"/>
                <a:gd name="T12" fmla="*/ 242 w 280"/>
                <a:gd name="T13" fmla="*/ 37 h 279"/>
                <a:gd name="T14" fmla="*/ 242 w 280"/>
                <a:gd name="T15" fmla="*/ 174 h 279"/>
                <a:gd name="T16" fmla="*/ 174 w 280"/>
                <a:gd name="T17" fmla="*/ 24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279">
                  <a:moveTo>
                    <a:pt x="174" y="242"/>
                  </a:moveTo>
                  <a:cubicBezTo>
                    <a:pt x="136" y="279"/>
                    <a:pt x="75" y="279"/>
                    <a:pt x="38" y="242"/>
                  </a:cubicBezTo>
                  <a:cubicBezTo>
                    <a:pt x="38" y="242"/>
                    <a:pt x="38" y="242"/>
                    <a:pt x="38" y="242"/>
                  </a:cubicBezTo>
                  <a:cubicBezTo>
                    <a:pt x="0" y="204"/>
                    <a:pt x="0" y="143"/>
                    <a:pt x="38" y="105"/>
                  </a:cubicBezTo>
                  <a:cubicBezTo>
                    <a:pt x="106" y="37"/>
                    <a:pt x="106" y="37"/>
                    <a:pt x="106" y="37"/>
                  </a:cubicBezTo>
                  <a:cubicBezTo>
                    <a:pt x="143" y="0"/>
                    <a:pt x="204" y="0"/>
                    <a:pt x="242" y="37"/>
                  </a:cubicBezTo>
                  <a:cubicBezTo>
                    <a:pt x="242" y="37"/>
                    <a:pt x="242" y="37"/>
                    <a:pt x="242" y="37"/>
                  </a:cubicBezTo>
                  <a:cubicBezTo>
                    <a:pt x="280" y="75"/>
                    <a:pt x="280" y="136"/>
                    <a:pt x="242" y="174"/>
                  </a:cubicBezTo>
                  <a:lnTo>
                    <a:pt x="174" y="242"/>
                  </a:lnTo>
                  <a:close/>
                </a:path>
              </a:pathLst>
            </a:custGeom>
            <a:solidFill>
              <a:srgbClr val="FFFFFF"/>
            </a:solidFill>
            <a:ln w="76200" cap="rnd" cmpd="sng" algn="ctr">
              <a:solidFill>
                <a:srgbClr val="0040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1" name="Freeform 8">
              <a:extLst>
                <a:ext uri="{FF2B5EF4-FFF2-40B4-BE49-F238E27FC236}">
                  <a16:creationId xmlns:a16="http://schemas.microsoft.com/office/drawing/2014/main" id="{34E038AB-1491-AB4C-9C80-C7E4F4F7EEB9}"/>
                </a:ext>
              </a:extLst>
            </p:cNvPr>
            <p:cNvSpPr>
              <a:spLocks/>
            </p:cNvSpPr>
            <p:nvPr/>
          </p:nvSpPr>
          <p:spPr bwMode="auto">
            <a:xfrm>
              <a:off x="3321844" y="2360614"/>
              <a:ext cx="381000" cy="382588"/>
            </a:xfrm>
            <a:custGeom>
              <a:avLst/>
              <a:gdLst>
                <a:gd name="T0" fmla="*/ 174 w 237"/>
                <a:gd name="T1" fmla="*/ 200 h 238"/>
                <a:gd name="T2" fmla="*/ 37 w 237"/>
                <a:gd name="T3" fmla="*/ 200 h 238"/>
                <a:gd name="T4" fmla="*/ 37 w 237"/>
                <a:gd name="T5" fmla="*/ 200 h 238"/>
                <a:gd name="T6" fmla="*/ 37 w 237"/>
                <a:gd name="T7" fmla="*/ 64 h 238"/>
                <a:gd name="T8" fmla="*/ 64 w 237"/>
                <a:gd name="T9" fmla="*/ 38 h 238"/>
                <a:gd name="T10" fmla="*/ 200 w 237"/>
                <a:gd name="T11" fmla="*/ 38 h 238"/>
                <a:gd name="T12" fmla="*/ 200 w 237"/>
                <a:gd name="T13" fmla="*/ 38 h 238"/>
                <a:gd name="T14" fmla="*/ 200 w 237"/>
                <a:gd name="T15" fmla="*/ 174 h 238"/>
                <a:gd name="T16" fmla="*/ 174 w 237"/>
                <a:gd name="T17" fmla="*/ 20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38">
                  <a:moveTo>
                    <a:pt x="174" y="200"/>
                  </a:moveTo>
                  <a:cubicBezTo>
                    <a:pt x="136" y="238"/>
                    <a:pt x="75" y="238"/>
                    <a:pt x="37" y="200"/>
                  </a:cubicBezTo>
                  <a:cubicBezTo>
                    <a:pt x="37" y="200"/>
                    <a:pt x="37" y="200"/>
                    <a:pt x="37" y="200"/>
                  </a:cubicBezTo>
                  <a:cubicBezTo>
                    <a:pt x="0" y="163"/>
                    <a:pt x="0" y="101"/>
                    <a:pt x="37" y="64"/>
                  </a:cubicBezTo>
                  <a:cubicBezTo>
                    <a:pt x="64" y="38"/>
                    <a:pt x="64" y="38"/>
                    <a:pt x="64" y="38"/>
                  </a:cubicBezTo>
                  <a:cubicBezTo>
                    <a:pt x="101" y="0"/>
                    <a:pt x="162" y="0"/>
                    <a:pt x="200" y="38"/>
                  </a:cubicBezTo>
                  <a:cubicBezTo>
                    <a:pt x="200" y="38"/>
                    <a:pt x="200" y="38"/>
                    <a:pt x="200" y="38"/>
                  </a:cubicBezTo>
                  <a:cubicBezTo>
                    <a:pt x="237" y="75"/>
                    <a:pt x="237" y="136"/>
                    <a:pt x="200" y="174"/>
                  </a:cubicBezTo>
                  <a:lnTo>
                    <a:pt x="174" y="200"/>
                  </a:lnTo>
                  <a:close/>
                </a:path>
              </a:pathLst>
            </a:custGeom>
            <a:solidFill>
              <a:srgbClr val="FFFFFF"/>
            </a:solidFill>
            <a:ln w="76200" cap="rnd" cmpd="sng" algn="ctr">
              <a:solidFill>
                <a:srgbClr val="0040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2" name="Freeform 9">
              <a:extLst>
                <a:ext uri="{FF2B5EF4-FFF2-40B4-BE49-F238E27FC236}">
                  <a16:creationId xmlns:a16="http://schemas.microsoft.com/office/drawing/2014/main" id="{76E777C3-72EC-A54D-8EF2-F071C1F481E9}"/>
                </a:ext>
              </a:extLst>
            </p:cNvPr>
            <p:cNvSpPr>
              <a:spLocks/>
            </p:cNvSpPr>
            <p:nvPr/>
          </p:nvSpPr>
          <p:spPr bwMode="auto">
            <a:xfrm>
              <a:off x="3623469" y="1298576"/>
              <a:ext cx="744538" cy="620713"/>
            </a:xfrm>
            <a:custGeom>
              <a:avLst/>
              <a:gdLst>
                <a:gd name="T0" fmla="*/ 165 w 463"/>
                <a:gd name="T1" fmla="*/ 356 h 386"/>
                <a:gd name="T2" fmla="*/ 30 w 463"/>
                <a:gd name="T3" fmla="*/ 331 h 386"/>
                <a:gd name="T4" fmla="*/ 30 w 463"/>
                <a:gd name="T5" fmla="*/ 331 h 386"/>
                <a:gd name="T6" fmla="*/ 55 w 463"/>
                <a:gd name="T7" fmla="*/ 197 h 386"/>
                <a:gd name="T8" fmla="*/ 463 w 463"/>
                <a:gd name="T9" fmla="*/ 0 h 386"/>
              </a:gdLst>
              <a:ahLst/>
              <a:cxnLst>
                <a:cxn ang="0">
                  <a:pos x="T0" y="T1"/>
                </a:cxn>
                <a:cxn ang="0">
                  <a:pos x="T2" y="T3"/>
                </a:cxn>
                <a:cxn ang="0">
                  <a:pos x="T4" y="T5"/>
                </a:cxn>
                <a:cxn ang="0">
                  <a:pos x="T6" y="T7"/>
                </a:cxn>
                <a:cxn ang="0">
                  <a:pos x="T8" y="T9"/>
                </a:cxn>
              </a:cxnLst>
              <a:rect l="0" t="0" r="r" b="b"/>
              <a:pathLst>
                <a:path w="463" h="386">
                  <a:moveTo>
                    <a:pt x="165" y="356"/>
                  </a:moveTo>
                  <a:cubicBezTo>
                    <a:pt x="121" y="386"/>
                    <a:pt x="61" y="375"/>
                    <a:pt x="30" y="331"/>
                  </a:cubicBezTo>
                  <a:cubicBezTo>
                    <a:pt x="30" y="331"/>
                    <a:pt x="30" y="331"/>
                    <a:pt x="30" y="331"/>
                  </a:cubicBezTo>
                  <a:cubicBezTo>
                    <a:pt x="0" y="288"/>
                    <a:pt x="11" y="227"/>
                    <a:pt x="55" y="197"/>
                  </a:cubicBezTo>
                  <a:cubicBezTo>
                    <a:pt x="463" y="0"/>
                    <a:pt x="463" y="0"/>
                    <a:pt x="463" y="0"/>
                  </a:cubicBezTo>
                </a:path>
              </a:pathLst>
            </a:custGeom>
            <a:solidFill>
              <a:srgbClr val="FFFFFF"/>
            </a:solidFill>
            <a:ln w="76200" cap="rnd" cmpd="sng" algn="ctr">
              <a:solidFill>
                <a:srgbClr val="0040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5" name="Freeform 10">
              <a:extLst>
                <a:ext uri="{FF2B5EF4-FFF2-40B4-BE49-F238E27FC236}">
                  <a16:creationId xmlns:a16="http://schemas.microsoft.com/office/drawing/2014/main" id="{1E4AD2F5-481A-3544-9809-27363F40D385}"/>
                </a:ext>
              </a:extLst>
            </p:cNvPr>
            <p:cNvSpPr>
              <a:spLocks/>
            </p:cNvSpPr>
            <p:nvPr/>
          </p:nvSpPr>
          <p:spPr bwMode="auto">
            <a:xfrm>
              <a:off x="3823494" y="2619376"/>
              <a:ext cx="581025" cy="581025"/>
            </a:xfrm>
            <a:custGeom>
              <a:avLst/>
              <a:gdLst>
                <a:gd name="T0" fmla="*/ 174 w 362"/>
                <a:gd name="T1" fmla="*/ 324 h 362"/>
                <a:gd name="T2" fmla="*/ 38 w 362"/>
                <a:gd name="T3" fmla="*/ 324 h 362"/>
                <a:gd name="T4" fmla="*/ 38 w 362"/>
                <a:gd name="T5" fmla="*/ 324 h 362"/>
                <a:gd name="T6" fmla="*/ 38 w 362"/>
                <a:gd name="T7" fmla="*/ 188 h 362"/>
                <a:gd name="T8" fmla="*/ 188 w 362"/>
                <a:gd name="T9" fmla="*/ 37 h 362"/>
                <a:gd name="T10" fmla="*/ 324 w 362"/>
                <a:gd name="T11" fmla="*/ 37 h 362"/>
                <a:gd name="T12" fmla="*/ 324 w 362"/>
                <a:gd name="T13" fmla="*/ 37 h 362"/>
                <a:gd name="T14" fmla="*/ 324 w 362"/>
                <a:gd name="T15" fmla="*/ 174 h 362"/>
                <a:gd name="T16" fmla="*/ 174 w 362"/>
                <a:gd name="T17" fmla="*/ 324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2" h="362">
                  <a:moveTo>
                    <a:pt x="174" y="324"/>
                  </a:moveTo>
                  <a:cubicBezTo>
                    <a:pt x="137" y="362"/>
                    <a:pt x="75" y="362"/>
                    <a:pt x="38" y="324"/>
                  </a:cubicBezTo>
                  <a:cubicBezTo>
                    <a:pt x="38" y="324"/>
                    <a:pt x="38" y="324"/>
                    <a:pt x="38" y="324"/>
                  </a:cubicBezTo>
                  <a:cubicBezTo>
                    <a:pt x="0" y="286"/>
                    <a:pt x="0" y="225"/>
                    <a:pt x="38" y="188"/>
                  </a:cubicBezTo>
                  <a:cubicBezTo>
                    <a:pt x="188" y="37"/>
                    <a:pt x="188" y="37"/>
                    <a:pt x="188" y="37"/>
                  </a:cubicBezTo>
                  <a:cubicBezTo>
                    <a:pt x="226" y="0"/>
                    <a:pt x="287" y="0"/>
                    <a:pt x="324" y="37"/>
                  </a:cubicBezTo>
                  <a:cubicBezTo>
                    <a:pt x="324" y="37"/>
                    <a:pt x="324" y="37"/>
                    <a:pt x="324" y="37"/>
                  </a:cubicBezTo>
                  <a:cubicBezTo>
                    <a:pt x="362" y="75"/>
                    <a:pt x="362" y="136"/>
                    <a:pt x="324" y="174"/>
                  </a:cubicBezTo>
                  <a:lnTo>
                    <a:pt x="174" y="324"/>
                  </a:lnTo>
                  <a:close/>
                </a:path>
              </a:pathLst>
            </a:custGeom>
            <a:solidFill>
              <a:srgbClr val="FFFFFF"/>
            </a:solidFill>
            <a:ln w="76200" cap="rnd" cmpd="sng" algn="ctr">
              <a:solidFill>
                <a:srgbClr val="0040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6" name="Freeform 11">
              <a:extLst>
                <a:ext uri="{FF2B5EF4-FFF2-40B4-BE49-F238E27FC236}">
                  <a16:creationId xmlns:a16="http://schemas.microsoft.com/office/drawing/2014/main" id="{780D49C9-D782-944A-882E-5FACEC72ECF4}"/>
                </a:ext>
              </a:extLst>
            </p:cNvPr>
            <p:cNvSpPr>
              <a:spLocks/>
            </p:cNvSpPr>
            <p:nvPr/>
          </p:nvSpPr>
          <p:spPr bwMode="auto">
            <a:xfrm>
              <a:off x="4885531" y="2171701"/>
              <a:ext cx="565150" cy="603250"/>
            </a:xfrm>
            <a:custGeom>
              <a:avLst/>
              <a:gdLst>
                <a:gd name="T0" fmla="*/ 113 w 352"/>
                <a:gd name="T1" fmla="*/ 0 h 376"/>
                <a:gd name="T2" fmla="*/ 315 w 352"/>
                <a:gd name="T3" fmla="*/ 202 h 376"/>
                <a:gd name="T4" fmla="*/ 315 w 352"/>
                <a:gd name="T5" fmla="*/ 338 h 376"/>
                <a:gd name="T6" fmla="*/ 315 w 352"/>
                <a:gd name="T7" fmla="*/ 338 h 376"/>
                <a:gd name="T8" fmla="*/ 178 w 352"/>
                <a:gd name="T9" fmla="*/ 338 h 376"/>
                <a:gd name="T10" fmla="*/ 0 w 352"/>
                <a:gd name="T11" fmla="*/ 160 h 376"/>
              </a:gdLst>
              <a:ahLst/>
              <a:cxnLst>
                <a:cxn ang="0">
                  <a:pos x="T0" y="T1"/>
                </a:cxn>
                <a:cxn ang="0">
                  <a:pos x="T2" y="T3"/>
                </a:cxn>
                <a:cxn ang="0">
                  <a:pos x="T4" y="T5"/>
                </a:cxn>
                <a:cxn ang="0">
                  <a:pos x="T6" y="T7"/>
                </a:cxn>
                <a:cxn ang="0">
                  <a:pos x="T8" y="T9"/>
                </a:cxn>
                <a:cxn ang="0">
                  <a:pos x="T10" y="T11"/>
                </a:cxn>
              </a:cxnLst>
              <a:rect l="0" t="0" r="r" b="b"/>
              <a:pathLst>
                <a:path w="352" h="376">
                  <a:moveTo>
                    <a:pt x="113" y="0"/>
                  </a:moveTo>
                  <a:cubicBezTo>
                    <a:pt x="315" y="202"/>
                    <a:pt x="315" y="202"/>
                    <a:pt x="315" y="202"/>
                  </a:cubicBezTo>
                  <a:cubicBezTo>
                    <a:pt x="352" y="239"/>
                    <a:pt x="352" y="301"/>
                    <a:pt x="315" y="338"/>
                  </a:cubicBezTo>
                  <a:cubicBezTo>
                    <a:pt x="315" y="338"/>
                    <a:pt x="315" y="338"/>
                    <a:pt x="315" y="338"/>
                  </a:cubicBezTo>
                  <a:cubicBezTo>
                    <a:pt x="277" y="376"/>
                    <a:pt x="216" y="376"/>
                    <a:pt x="178" y="338"/>
                  </a:cubicBezTo>
                  <a:cubicBezTo>
                    <a:pt x="0" y="160"/>
                    <a:pt x="0" y="160"/>
                    <a:pt x="0" y="160"/>
                  </a:cubicBezTo>
                </a:path>
              </a:pathLst>
            </a:custGeom>
            <a:noFill/>
            <a:ln w="76200" cap="rnd" cmpd="sng" algn="ctr">
              <a:solidFill>
                <a:srgbClr val="004080"/>
              </a:solidFill>
              <a:prstDash val="solid"/>
              <a:round/>
              <a:headEnd type="none" w="med" len="med"/>
              <a:tailEnd type="none" w="med" len="me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7" name="Freeform 12">
              <a:extLst>
                <a:ext uri="{FF2B5EF4-FFF2-40B4-BE49-F238E27FC236}">
                  <a16:creationId xmlns:a16="http://schemas.microsoft.com/office/drawing/2014/main" id="{3EFCC746-AEB9-724E-8224-18A9ACA81FB9}"/>
                </a:ext>
              </a:extLst>
            </p:cNvPr>
            <p:cNvSpPr>
              <a:spLocks/>
            </p:cNvSpPr>
            <p:nvPr/>
          </p:nvSpPr>
          <p:spPr bwMode="auto">
            <a:xfrm>
              <a:off x="4980781" y="1646239"/>
              <a:ext cx="755650" cy="974725"/>
            </a:xfrm>
            <a:custGeom>
              <a:avLst/>
              <a:gdLst>
                <a:gd name="T0" fmla="*/ 0 w 471"/>
                <a:gd name="T1" fmla="*/ 0 h 607"/>
                <a:gd name="T2" fmla="*/ 433 w 471"/>
                <a:gd name="T3" fmla="*/ 433 h 607"/>
                <a:gd name="T4" fmla="*/ 433 w 471"/>
                <a:gd name="T5" fmla="*/ 569 h 607"/>
                <a:gd name="T6" fmla="*/ 433 w 471"/>
                <a:gd name="T7" fmla="*/ 569 h 607"/>
                <a:gd name="T8" fmla="*/ 297 w 471"/>
                <a:gd name="T9" fmla="*/ 569 h 607"/>
                <a:gd name="T10" fmla="*/ 58 w 471"/>
                <a:gd name="T11" fmla="*/ 330 h 607"/>
              </a:gdLst>
              <a:ahLst/>
              <a:cxnLst>
                <a:cxn ang="0">
                  <a:pos x="T0" y="T1"/>
                </a:cxn>
                <a:cxn ang="0">
                  <a:pos x="T2" y="T3"/>
                </a:cxn>
                <a:cxn ang="0">
                  <a:pos x="T4" y="T5"/>
                </a:cxn>
                <a:cxn ang="0">
                  <a:pos x="T6" y="T7"/>
                </a:cxn>
                <a:cxn ang="0">
                  <a:pos x="T8" y="T9"/>
                </a:cxn>
                <a:cxn ang="0">
                  <a:pos x="T10" y="T11"/>
                </a:cxn>
              </a:cxnLst>
              <a:rect l="0" t="0" r="r" b="b"/>
              <a:pathLst>
                <a:path w="471" h="607">
                  <a:moveTo>
                    <a:pt x="0" y="0"/>
                  </a:moveTo>
                  <a:cubicBezTo>
                    <a:pt x="433" y="433"/>
                    <a:pt x="433" y="433"/>
                    <a:pt x="433" y="433"/>
                  </a:cubicBezTo>
                  <a:cubicBezTo>
                    <a:pt x="471" y="471"/>
                    <a:pt x="471" y="532"/>
                    <a:pt x="433" y="569"/>
                  </a:cubicBezTo>
                  <a:cubicBezTo>
                    <a:pt x="433" y="569"/>
                    <a:pt x="433" y="569"/>
                    <a:pt x="433" y="569"/>
                  </a:cubicBezTo>
                  <a:cubicBezTo>
                    <a:pt x="395" y="607"/>
                    <a:pt x="334" y="607"/>
                    <a:pt x="297" y="569"/>
                  </a:cubicBezTo>
                  <a:cubicBezTo>
                    <a:pt x="58" y="330"/>
                    <a:pt x="58" y="330"/>
                    <a:pt x="58" y="330"/>
                  </a:cubicBezTo>
                </a:path>
              </a:pathLst>
            </a:custGeom>
            <a:solidFill>
              <a:srgbClr val="FFFFFF"/>
            </a:solidFill>
            <a:ln w="76200" cap="rnd" cmpd="sng" algn="ctr">
              <a:solidFill>
                <a:srgbClr val="0040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8" name="Freeform 13">
              <a:extLst>
                <a:ext uri="{FF2B5EF4-FFF2-40B4-BE49-F238E27FC236}">
                  <a16:creationId xmlns:a16="http://schemas.microsoft.com/office/drawing/2014/main" id="{A682D5A7-D1A7-3749-B36A-F684012E9771}"/>
                </a:ext>
              </a:extLst>
            </p:cNvPr>
            <p:cNvSpPr>
              <a:spLocks/>
            </p:cNvSpPr>
            <p:nvPr/>
          </p:nvSpPr>
          <p:spPr bwMode="auto">
            <a:xfrm>
              <a:off x="4885531" y="2430464"/>
              <a:ext cx="296863" cy="517525"/>
            </a:xfrm>
            <a:custGeom>
              <a:avLst/>
              <a:gdLst>
                <a:gd name="T0" fmla="*/ 0 w 185"/>
                <a:gd name="T1" fmla="*/ 0 h 322"/>
                <a:gd name="T2" fmla="*/ 147 w 185"/>
                <a:gd name="T3" fmla="*/ 148 h 322"/>
                <a:gd name="T4" fmla="*/ 147 w 185"/>
                <a:gd name="T5" fmla="*/ 284 h 322"/>
                <a:gd name="T6" fmla="*/ 147 w 185"/>
                <a:gd name="T7" fmla="*/ 284 h 322"/>
                <a:gd name="T8" fmla="*/ 11 w 185"/>
                <a:gd name="T9" fmla="*/ 284 h 322"/>
              </a:gdLst>
              <a:ahLst/>
              <a:cxnLst>
                <a:cxn ang="0">
                  <a:pos x="T0" y="T1"/>
                </a:cxn>
                <a:cxn ang="0">
                  <a:pos x="T2" y="T3"/>
                </a:cxn>
                <a:cxn ang="0">
                  <a:pos x="T4" y="T5"/>
                </a:cxn>
                <a:cxn ang="0">
                  <a:pos x="T6" y="T7"/>
                </a:cxn>
                <a:cxn ang="0">
                  <a:pos x="T8" y="T9"/>
                </a:cxn>
              </a:cxnLst>
              <a:rect l="0" t="0" r="r" b="b"/>
              <a:pathLst>
                <a:path w="185" h="322">
                  <a:moveTo>
                    <a:pt x="0" y="0"/>
                  </a:moveTo>
                  <a:cubicBezTo>
                    <a:pt x="147" y="148"/>
                    <a:pt x="147" y="148"/>
                    <a:pt x="147" y="148"/>
                  </a:cubicBezTo>
                  <a:cubicBezTo>
                    <a:pt x="185" y="186"/>
                    <a:pt x="185" y="247"/>
                    <a:pt x="147" y="284"/>
                  </a:cubicBezTo>
                  <a:cubicBezTo>
                    <a:pt x="147" y="284"/>
                    <a:pt x="147" y="284"/>
                    <a:pt x="147" y="284"/>
                  </a:cubicBezTo>
                  <a:cubicBezTo>
                    <a:pt x="110" y="322"/>
                    <a:pt x="48" y="322"/>
                    <a:pt x="11" y="284"/>
                  </a:cubicBezTo>
                </a:path>
              </a:pathLst>
            </a:custGeom>
            <a:solidFill>
              <a:srgbClr val="FFFFFF"/>
            </a:solidFill>
            <a:ln w="76200" cap="rnd" cmpd="sng" algn="ctr">
              <a:solidFill>
                <a:srgbClr val="0040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9" name="Freeform 14">
              <a:extLst>
                <a:ext uri="{FF2B5EF4-FFF2-40B4-BE49-F238E27FC236}">
                  <a16:creationId xmlns:a16="http://schemas.microsoft.com/office/drawing/2014/main" id="{CF36E486-3A4A-1D41-8444-9D7D492871F3}"/>
                </a:ext>
              </a:extLst>
            </p:cNvPr>
            <p:cNvSpPr>
              <a:spLocks/>
            </p:cNvSpPr>
            <p:nvPr/>
          </p:nvSpPr>
          <p:spPr bwMode="auto">
            <a:xfrm>
              <a:off x="4690269" y="2720976"/>
              <a:ext cx="279400" cy="450850"/>
            </a:xfrm>
            <a:custGeom>
              <a:avLst/>
              <a:gdLst>
                <a:gd name="T0" fmla="*/ 30 w 174"/>
                <a:gd name="T1" fmla="*/ 0 h 281"/>
                <a:gd name="T2" fmla="*/ 137 w 174"/>
                <a:gd name="T3" fmla="*/ 107 h 281"/>
                <a:gd name="T4" fmla="*/ 137 w 174"/>
                <a:gd name="T5" fmla="*/ 243 h 281"/>
                <a:gd name="T6" fmla="*/ 137 w 174"/>
                <a:gd name="T7" fmla="*/ 243 h 281"/>
                <a:gd name="T8" fmla="*/ 0 w 174"/>
                <a:gd name="T9" fmla="*/ 243 h 281"/>
              </a:gdLst>
              <a:ahLst/>
              <a:cxnLst>
                <a:cxn ang="0">
                  <a:pos x="T0" y="T1"/>
                </a:cxn>
                <a:cxn ang="0">
                  <a:pos x="T2" y="T3"/>
                </a:cxn>
                <a:cxn ang="0">
                  <a:pos x="T4" y="T5"/>
                </a:cxn>
                <a:cxn ang="0">
                  <a:pos x="T6" y="T7"/>
                </a:cxn>
                <a:cxn ang="0">
                  <a:pos x="T8" y="T9"/>
                </a:cxn>
              </a:cxnLst>
              <a:rect l="0" t="0" r="r" b="b"/>
              <a:pathLst>
                <a:path w="174" h="281">
                  <a:moveTo>
                    <a:pt x="30" y="0"/>
                  </a:moveTo>
                  <a:cubicBezTo>
                    <a:pt x="137" y="107"/>
                    <a:pt x="137" y="107"/>
                    <a:pt x="137" y="107"/>
                  </a:cubicBezTo>
                  <a:cubicBezTo>
                    <a:pt x="174" y="144"/>
                    <a:pt x="174" y="205"/>
                    <a:pt x="137" y="243"/>
                  </a:cubicBezTo>
                  <a:cubicBezTo>
                    <a:pt x="137" y="243"/>
                    <a:pt x="137" y="243"/>
                    <a:pt x="137" y="243"/>
                  </a:cubicBezTo>
                  <a:cubicBezTo>
                    <a:pt x="99" y="281"/>
                    <a:pt x="38" y="281"/>
                    <a:pt x="0" y="243"/>
                  </a:cubicBezTo>
                </a:path>
              </a:pathLst>
            </a:custGeom>
            <a:solidFill>
              <a:srgbClr val="FFFFFF"/>
            </a:solidFill>
            <a:ln w="76200" cap="rnd" cmpd="sng" algn="ctr">
              <a:solidFill>
                <a:srgbClr val="0040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0" name="Line 15">
              <a:extLst>
                <a:ext uri="{FF2B5EF4-FFF2-40B4-BE49-F238E27FC236}">
                  <a16:creationId xmlns:a16="http://schemas.microsoft.com/office/drawing/2014/main" id="{5E281E56-680B-E340-B35C-762486CBAAC5}"/>
                </a:ext>
              </a:extLst>
            </p:cNvPr>
            <p:cNvSpPr>
              <a:spLocks noChangeShapeType="1"/>
            </p:cNvSpPr>
            <p:nvPr/>
          </p:nvSpPr>
          <p:spPr bwMode="auto">
            <a:xfrm flipH="1" flipV="1">
              <a:off x="2690019" y="1985964"/>
              <a:ext cx="603250" cy="454025"/>
            </a:xfrm>
            <a:prstGeom prst="line">
              <a:avLst/>
            </a:prstGeom>
            <a:noFill/>
            <a:ln w="76200" cap="rnd" cmpd="sng" algn="ctr">
              <a:solidFill>
                <a:srgbClr val="0040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1" name="Freeform 16">
              <a:extLst>
                <a:ext uri="{FF2B5EF4-FFF2-40B4-BE49-F238E27FC236}">
                  <a16:creationId xmlns:a16="http://schemas.microsoft.com/office/drawing/2014/main" id="{B1447047-70E9-A14F-BD50-69D038355CCB}"/>
                </a:ext>
              </a:extLst>
            </p:cNvPr>
            <p:cNvSpPr>
              <a:spLocks/>
            </p:cNvSpPr>
            <p:nvPr/>
          </p:nvSpPr>
          <p:spPr bwMode="auto">
            <a:xfrm>
              <a:off x="2758281" y="846139"/>
              <a:ext cx="1304925" cy="561975"/>
            </a:xfrm>
            <a:custGeom>
              <a:avLst/>
              <a:gdLst>
                <a:gd name="T0" fmla="*/ 0 w 822"/>
                <a:gd name="T1" fmla="*/ 0 h 354"/>
                <a:gd name="T2" fmla="*/ 448 w 822"/>
                <a:gd name="T3" fmla="*/ 302 h 354"/>
                <a:gd name="T4" fmla="*/ 822 w 822"/>
                <a:gd name="T5" fmla="*/ 354 h 354"/>
              </a:gdLst>
              <a:ahLst/>
              <a:cxnLst>
                <a:cxn ang="0">
                  <a:pos x="T0" y="T1"/>
                </a:cxn>
                <a:cxn ang="0">
                  <a:pos x="T2" y="T3"/>
                </a:cxn>
                <a:cxn ang="0">
                  <a:pos x="T4" y="T5"/>
                </a:cxn>
              </a:cxnLst>
              <a:rect l="0" t="0" r="r" b="b"/>
              <a:pathLst>
                <a:path w="822" h="354">
                  <a:moveTo>
                    <a:pt x="0" y="0"/>
                  </a:moveTo>
                  <a:lnTo>
                    <a:pt x="448" y="302"/>
                  </a:lnTo>
                  <a:lnTo>
                    <a:pt x="822" y="354"/>
                  </a:lnTo>
                </a:path>
              </a:pathLst>
            </a:custGeom>
            <a:solidFill>
              <a:srgbClr val="FFFFFF"/>
            </a:solidFill>
            <a:ln w="76200" cap="rnd" cmpd="sng" algn="ctr">
              <a:solidFill>
                <a:srgbClr val="0040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2" name="Freeform 17">
              <a:extLst>
                <a:ext uri="{FF2B5EF4-FFF2-40B4-BE49-F238E27FC236}">
                  <a16:creationId xmlns:a16="http://schemas.microsoft.com/office/drawing/2014/main" id="{E962A9FC-0817-8F4C-AD53-0111007007DF}"/>
                </a:ext>
              </a:extLst>
            </p:cNvPr>
            <p:cNvSpPr>
              <a:spLocks/>
            </p:cNvSpPr>
            <p:nvPr/>
          </p:nvSpPr>
          <p:spPr bwMode="auto">
            <a:xfrm>
              <a:off x="5644356" y="1719264"/>
              <a:ext cx="582613" cy="590550"/>
            </a:xfrm>
            <a:custGeom>
              <a:avLst/>
              <a:gdLst>
                <a:gd name="T0" fmla="*/ 0 w 367"/>
                <a:gd name="T1" fmla="*/ 372 h 372"/>
                <a:gd name="T2" fmla="*/ 166 w 367"/>
                <a:gd name="T3" fmla="*/ 204 h 372"/>
                <a:gd name="T4" fmla="*/ 367 w 367"/>
                <a:gd name="T5" fmla="*/ 0 h 372"/>
              </a:gdLst>
              <a:ahLst/>
              <a:cxnLst>
                <a:cxn ang="0">
                  <a:pos x="T0" y="T1"/>
                </a:cxn>
                <a:cxn ang="0">
                  <a:pos x="T2" y="T3"/>
                </a:cxn>
                <a:cxn ang="0">
                  <a:pos x="T4" y="T5"/>
                </a:cxn>
              </a:cxnLst>
              <a:rect l="0" t="0" r="r" b="b"/>
              <a:pathLst>
                <a:path w="367" h="372">
                  <a:moveTo>
                    <a:pt x="0" y="372"/>
                  </a:moveTo>
                  <a:lnTo>
                    <a:pt x="166" y="204"/>
                  </a:lnTo>
                  <a:lnTo>
                    <a:pt x="367" y="0"/>
                  </a:lnTo>
                </a:path>
              </a:pathLst>
            </a:custGeom>
            <a:solidFill>
              <a:srgbClr val="FFFFFF"/>
            </a:solidFill>
            <a:ln w="76200" cap="rnd" cmpd="sng" algn="ctr">
              <a:solidFill>
                <a:srgbClr val="0040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3" name="Freeform 18">
              <a:extLst>
                <a:ext uri="{FF2B5EF4-FFF2-40B4-BE49-F238E27FC236}">
                  <a16:creationId xmlns:a16="http://schemas.microsoft.com/office/drawing/2014/main" id="{A6E8CF69-1579-0D4F-9681-11AFA6BE1EA5}"/>
                </a:ext>
              </a:extLst>
            </p:cNvPr>
            <p:cNvSpPr>
              <a:spLocks/>
            </p:cNvSpPr>
            <p:nvPr/>
          </p:nvSpPr>
          <p:spPr bwMode="auto">
            <a:xfrm>
              <a:off x="4368006" y="1028701"/>
              <a:ext cx="1460500" cy="341313"/>
            </a:xfrm>
            <a:custGeom>
              <a:avLst/>
              <a:gdLst>
                <a:gd name="T0" fmla="*/ 920 w 920"/>
                <a:gd name="T1" fmla="*/ 0 h 215"/>
                <a:gd name="T2" fmla="*/ 603 w 920"/>
                <a:gd name="T3" fmla="*/ 215 h 215"/>
                <a:gd name="T4" fmla="*/ 387 w 920"/>
                <a:gd name="T5" fmla="*/ 107 h 215"/>
                <a:gd name="T6" fmla="*/ 0 w 920"/>
                <a:gd name="T7" fmla="*/ 170 h 215"/>
              </a:gdLst>
              <a:ahLst/>
              <a:cxnLst>
                <a:cxn ang="0">
                  <a:pos x="T0" y="T1"/>
                </a:cxn>
                <a:cxn ang="0">
                  <a:pos x="T2" y="T3"/>
                </a:cxn>
                <a:cxn ang="0">
                  <a:pos x="T4" y="T5"/>
                </a:cxn>
                <a:cxn ang="0">
                  <a:pos x="T6" y="T7"/>
                </a:cxn>
              </a:cxnLst>
              <a:rect l="0" t="0" r="r" b="b"/>
              <a:pathLst>
                <a:path w="920" h="215">
                  <a:moveTo>
                    <a:pt x="920" y="0"/>
                  </a:moveTo>
                  <a:lnTo>
                    <a:pt x="603" y="215"/>
                  </a:lnTo>
                  <a:lnTo>
                    <a:pt x="387" y="107"/>
                  </a:lnTo>
                  <a:lnTo>
                    <a:pt x="0" y="170"/>
                  </a:lnTo>
                </a:path>
              </a:pathLst>
            </a:custGeom>
            <a:solidFill>
              <a:srgbClr val="FFFFFF"/>
            </a:solidFill>
            <a:ln w="76200" cap="rnd" cmpd="sng" algn="ctr">
              <a:solidFill>
                <a:srgbClr val="00408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48" name="TextBox 147">
            <a:extLst>
              <a:ext uri="{FF2B5EF4-FFF2-40B4-BE49-F238E27FC236}">
                <a16:creationId xmlns:a16="http://schemas.microsoft.com/office/drawing/2014/main" id="{74F15C4C-C941-AC4F-9CE8-3646BA9741FB}"/>
              </a:ext>
            </a:extLst>
          </p:cNvPr>
          <p:cNvSpPr txBox="1"/>
          <p:nvPr/>
        </p:nvSpPr>
        <p:spPr>
          <a:xfrm rot="18900000">
            <a:off x="4387099" y="3353742"/>
            <a:ext cx="750847" cy="286232"/>
          </a:xfrm>
          <a:prstGeom prst="rect">
            <a:avLst/>
          </a:prstGeom>
          <a:noFill/>
        </p:spPr>
        <p:txBody>
          <a:bodyPr wrap="none" rtlCol="0">
            <a:spAutoFit/>
          </a:bodyPr>
          <a:lstStyle/>
          <a:p>
            <a:pPr>
              <a:lnSpc>
                <a:spcPct val="90000"/>
              </a:lnSpc>
            </a:pPr>
            <a:r>
              <a:rPr lang="en-US" sz="1400" b="1" dirty="0">
                <a:solidFill>
                  <a:schemeClr val="tx1">
                    <a:lumMod val="65000"/>
                    <a:lumOff val="35000"/>
                  </a:schemeClr>
                </a:solidFill>
                <a:latin typeface="+mj-lt"/>
                <a:cs typeface="Raleway"/>
              </a:rPr>
              <a:t>ERFOLG</a:t>
            </a:r>
          </a:p>
        </p:txBody>
      </p:sp>
    </p:spTree>
    <p:extLst>
      <p:ext uri="{BB962C8B-B14F-4D97-AF65-F5344CB8AC3E}">
        <p14:creationId xmlns:p14="http://schemas.microsoft.com/office/powerpoint/2010/main" val="39688724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9642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extLst>
              <a:ext uri="{FF2B5EF4-FFF2-40B4-BE49-F238E27FC236}">
                <a16:creationId xmlns:a16="http://schemas.microsoft.com/office/drawing/2014/main" id="{BD4BBD91-74B2-3446-BAC0-22EE9ED0B4CD}"/>
              </a:ext>
            </a:extLst>
          </p:cNvPr>
          <p:cNvSpPr/>
          <p:nvPr/>
        </p:nvSpPr>
        <p:spPr bwMode="auto">
          <a:xfrm>
            <a:off x="2599641" y="1784230"/>
            <a:ext cx="9257734" cy="666927"/>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none" lIns="115082" tIns="57890" rIns="113166" bIns="57890" numCol="1" rtlCol="0" anchor="ctr" anchorCtr="0" compatLnSpc="1">
            <a:prstTxWarp prst="textNoShape">
              <a:avLst/>
            </a:prstTxWarp>
          </a:bodyPr>
          <a:lstStyle/>
          <a:p>
            <a:pPr marL="0" marR="0" lvl="0" indent="0" algn="ctr" defTabSz="1097226" eaLnBrk="1" fontAlgn="base" latinLnBrk="0" hangingPunct="1">
              <a:lnSpc>
                <a:spcPct val="100000"/>
              </a:lnSpc>
              <a:spcBef>
                <a:spcPct val="0"/>
              </a:spcBef>
              <a:spcAft>
                <a:spcPct val="0"/>
              </a:spcAft>
              <a:buClr>
                <a:srgbClr val="FF8000"/>
              </a:buClr>
              <a:buSzPct val="75000"/>
              <a:buFontTx/>
              <a:buNone/>
              <a:tabLst/>
              <a:defRPr/>
            </a:pPr>
            <a:endParaRPr kumimoji="0" lang="de-DE" sz="1984" b="0" i="0" u="none" strike="noStrike" kern="0" cap="none" spc="0" normalizeH="0" baseline="0" noProof="0">
              <a:ln>
                <a:noFill/>
              </a:ln>
              <a:solidFill>
                <a:srgbClr val="646464"/>
              </a:solidFill>
              <a:effectLst/>
              <a:uLnTx/>
              <a:uFillTx/>
              <a:latin typeface="Arial" charset="0"/>
            </a:endParaRPr>
          </a:p>
        </p:txBody>
      </p:sp>
      <p:sp>
        <p:nvSpPr>
          <p:cNvPr id="17" name="Textfeld 16">
            <a:extLst>
              <a:ext uri="{FF2B5EF4-FFF2-40B4-BE49-F238E27FC236}">
                <a16:creationId xmlns:a16="http://schemas.microsoft.com/office/drawing/2014/main" id="{3629D8EB-8D5F-BF4D-AE9A-9A3890BC1E16}"/>
              </a:ext>
            </a:extLst>
          </p:cNvPr>
          <p:cNvSpPr txBox="1"/>
          <p:nvPr/>
        </p:nvSpPr>
        <p:spPr>
          <a:xfrm>
            <a:off x="4810242" y="2596327"/>
            <a:ext cx="7244291" cy="3016924"/>
          </a:xfrm>
          <a:prstGeom prst="rect">
            <a:avLst/>
          </a:prstGeom>
        </p:spPr>
        <p:txBody>
          <a:bodyPr wrap="square" rtlCol="0">
            <a:noAutofit/>
          </a:bodyPr>
          <a:lstStyle/>
          <a:p>
            <a:pPr marL="283486" indent="-283486" defTabSz="1007978">
              <a:spcBef>
                <a:spcPts val="662"/>
              </a:spcBef>
              <a:buFont typeface="Arial" charset="0"/>
              <a:buChar char="•"/>
            </a:pPr>
            <a:r>
              <a:rPr lang="de-DE" sz="1654" kern="0" dirty="0">
                <a:solidFill>
                  <a:schemeClr val="tx1">
                    <a:lumMod val="65000"/>
                    <a:lumOff val="35000"/>
                  </a:schemeClr>
                </a:solidFill>
                <a:latin typeface="Tahoma"/>
              </a:rPr>
              <a:t>Inhalt und Qualität der Bildungs- und Erziehungsleistungen sollen von Kontinuität und Konsistenz geprägt sein. </a:t>
            </a:r>
          </a:p>
          <a:p>
            <a:pPr marL="283486" indent="-283486" defTabSz="1007978">
              <a:spcBef>
                <a:spcPts val="662"/>
              </a:spcBef>
              <a:buFont typeface="Arial" charset="0"/>
              <a:buChar char="•"/>
            </a:pPr>
            <a:endParaRPr lang="de-DE" sz="1654" kern="0" dirty="0">
              <a:solidFill>
                <a:schemeClr val="tx1">
                  <a:lumMod val="65000"/>
                  <a:lumOff val="35000"/>
                </a:schemeClr>
              </a:solidFill>
              <a:latin typeface="Tahoma"/>
            </a:endParaRPr>
          </a:p>
          <a:p>
            <a:pPr marL="283486" indent="-283486" defTabSz="1007978">
              <a:spcBef>
                <a:spcPts val="662"/>
              </a:spcBef>
              <a:buFont typeface="Arial" charset="0"/>
              <a:buChar char="•"/>
            </a:pPr>
            <a:r>
              <a:rPr lang="de-DE" sz="1654" kern="0" dirty="0">
                <a:solidFill>
                  <a:schemeClr val="tx1">
                    <a:lumMod val="65000"/>
                    <a:lumOff val="35000"/>
                  </a:schemeClr>
                </a:solidFill>
                <a:latin typeface="Tahoma"/>
              </a:rPr>
              <a:t>Die partnerschaftliche Kooperation aller am Prozess beteiligter Akteure, insbesondere der Eltern, ist unverzichtbar. </a:t>
            </a:r>
          </a:p>
          <a:p>
            <a:pPr marL="283486" indent="-283486" defTabSz="1007978">
              <a:spcBef>
                <a:spcPts val="662"/>
              </a:spcBef>
              <a:buFont typeface="Arial" charset="0"/>
              <a:buChar char="•"/>
            </a:pPr>
            <a:endParaRPr lang="de-DE" sz="1654" kern="0" dirty="0">
              <a:solidFill>
                <a:schemeClr val="tx1">
                  <a:lumMod val="65000"/>
                  <a:lumOff val="35000"/>
                </a:schemeClr>
              </a:solidFill>
              <a:latin typeface="Tahoma"/>
            </a:endParaRPr>
          </a:p>
          <a:p>
            <a:pPr marL="283486" indent="-283486" defTabSz="1007978">
              <a:spcBef>
                <a:spcPts val="662"/>
              </a:spcBef>
              <a:buFont typeface="Arial" charset="0"/>
              <a:buChar char="•"/>
            </a:pPr>
            <a:r>
              <a:rPr lang="de-DE" sz="1654" kern="0" dirty="0">
                <a:solidFill>
                  <a:schemeClr val="tx1">
                    <a:lumMod val="65000"/>
                    <a:lumOff val="35000"/>
                  </a:schemeClr>
                </a:solidFill>
                <a:latin typeface="Tahoma"/>
              </a:rPr>
              <a:t>Erwachsene unterstützen das Kind, die Welt zu verstehen: Kindertageseinrichtung, Grundschule und Eltern</a:t>
            </a:r>
          </a:p>
          <a:p>
            <a:pPr defTabSz="1007978"/>
            <a:endParaRPr lang="de-DE" sz="1571" kern="0" dirty="0">
              <a:solidFill>
                <a:schemeClr val="tx1">
                  <a:lumMod val="65000"/>
                  <a:lumOff val="35000"/>
                </a:schemeClr>
              </a:solidFill>
              <a:latin typeface="Tahoma"/>
            </a:endParaRPr>
          </a:p>
          <a:p>
            <a:pPr marL="283486" indent="-283486" defTabSz="1007978">
              <a:buFont typeface="Arial" charset="0"/>
              <a:buChar char="•"/>
            </a:pPr>
            <a:endParaRPr lang="de-DE" sz="1488" kern="0" dirty="0">
              <a:solidFill>
                <a:schemeClr val="tx1">
                  <a:lumMod val="65000"/>
                  <a:lumOff val="35000"/>
                </a:schemeClr>
              </a:solidFill>
              <a:latin typeface="Tahoma"/>
            </a:endParaRPr>
          </a:p>
          <a:p>
            <a:pPr marL="283486" indent="-283486" defTabSz="1007978">
              <a:buFont typeface="Arial" charset="0"/>
              <a:buChar char="•"/>
            </a:pPr>
            <a:endParaRPr lang="de-DE" sz="1488" b="1" kern="0" dirty="0">
              <a:solidFill>
                <a:schemeClr val="tx1">
                  <a:lumMod val="65000"/>
                  <a:lumOff val="35000"/>
                </a:schemeClr>
              </a:solidFill>
              <a:latin typeface="Tahoma"/>
            </a:endParaRPr>
          </a:p>
          <a:p>
            <a:pPr marL="283486" indent="-283486" defTabSz="1007978">
              <a:buFont typeface="Arial" charset="0"/>
              <a:buChar char="•"/>
            </a:pPr>
            <a:endParaRPr lang="de-DE" sz="1488" b="1" kern="0" dirty="0">
              <a:solidFill>
                <a:schemeClr val="tx1">
                  <a:lumMod val="65000"/>
                  <a:lumOff val="35000"/>
                </a:schemeClr>
              </a:solidFill>
              <a:latin typeface="Tahoma"/>
            </a:endParaRPr>
          </a:p>
          <a:p>
            <a:pPr marL="283486" indent="-283486" defTabSz="1007978">
              <a:buFont typeface="Arial" charset="0"/>
              <a:buChar char="•"/>
            </a:pPr>
            <a:endParaRPr lang="de-DE" sz="1488" b="1" kern="0" dirty="0">
              <a:solidFill>
                <a:schemeClr val="tx1">
                  <a:lumMod val="65000"/>
                  <a:lumOff val="35000"/>
                </a:schemeClr>
              </a:solidFill>
              <a:latin typeface="Tahoma"/>
            </a:endParaRPr>
          </a:p>
          <a:p>
            <a:pPr marL="283486" indent="-283486" defTabSz="1007978">
              <a:buFont typeface="Arial" charset="0"/>
              <a:buChar char="•"/>
            </a:pPr>
            <a:endParaRPr lang="de-DE" sz="1488" b="1" kern="0" dirty="0">
              <a:solidFill>
                <a:schemeClr val="tx1">
                  <a:lumMod val="65000"/>
                  <a:lumOff val="35000"/>
                </a:schemeClr>
              </a:solidFill>
              <a:latin typeface="Tahoma"/>
            </a:endParaRPr>
          </a:p>
        </p:txBody>
      </p:sp>
      <p:cxnSp>
        <p:nvCxnSpPr>
          <p:cNvPr id="20" name="Gerade Verbindung 19">
            <a:extLst>
              <a:ext uri="{FF2B5EF4-FFF2-40B4-BE49-F238E27FC236}">
                <a16:creationId xmlns:a16="http://schemas.microsoft.com/office/drawing/2014/main" id="{2321F607-39EC-6045-B37F-D660107BD5B4}"/>
              </a:ext>
            </a:extLst>
          </p:cNvPr>
          <p:cNvCxnSpPr>
            <a:cxnSpLocks/>
          </p:cNvCxnSpPr>
          <p:nvPr/>
        </p:nvCxnSpPr>
        <p:spPr bwMode="auto">
          <a:xfrm>
            <a:off x="2307447" y="1653291"/>
            <a:ext cx="9884553" cy="0"/>
          </a:xfrm>
          <a:prstGeom prst="line">
            <a:avLst/>
          </a:prstGeom>
          <a:solidFill>
            <a:srgbClr val="FFFFFF"/>
          </a:solidFill>
          <a:ln w="50800" cap="flat" cmpd="sng" algn="ctr">
            <a:solidFill>
              <a:schemeClr val="tx2"/>
            </a:solidFill>
            <a:prstDash val="solid"/>
            <a:round/>
            <a:headEnd type="none" w="med" len="med"/>
            <a:tailEnd type="none" w="med" len="med"/>
          </a:ln>
          <a:effectLst/>
        </p:spPr>
      </p:cxnSp>
      <p:sp>
        <p:nvSpPr>
          <p:cNvPr id="21" name="Freeform 1004">
            <a:extLst>
              <a:ext uri="{FF2B5EF4-FFF2-40B4-BE49-F238E27FC236}">
                <a16:creationId xmlns:a16="http://schemas.microsoft.com/office/drawing/2014/main" id="{B48AD580-FC84-3941-84FF-A5F1B312242A}"/>
              </a:ext>
            </a:extLst>
          </p:cNvPr>
          <p:cNvSpPr>
            <a:spLocks noEditPoints="1"/>
          </p:cNvSpPr>
          <p:nvPr/>
        </p:nvSpPr>
        <p:spPr bwMode="auto">
          <a:xfrm>
            <a:off x="1540508" y="1488010"/>
            <a:ext cx="515883" cy="515883"/>
          </a:xfrm>
          <a:custGeom>
            <a:avLst/>
            <a:gdLst>
              <a:gd name="T0" fmla="*/ 460 w 586"/>
              <a:gd name="T1" fmla="*/ 168 h 461"/>
              <a:gd name="T2" fmla="*/ 230 w 586"/>
              <a:gd name="T3" fmla="*/ 335 h 461"/>
              <a:gd name="T4" fmla="*/ 173 w 586"/>
              <a:gd name="T5" fmla="*/ 330 h 461"/>
              <a:gd name="T6" fmla="*/ 82 w 586"/>
              <a:gd name="T7" fmla="*/ 371 h 461"/>
              <a:gd name="T8" fmla="*/ 54 w 586"/>
              <a:gd name="T9" fmla="*/ 377 h 461"/>
              <a:gd name="T10" fmla="*/ 53 w 586"/>
              <a:gd name="T11" fmla="*/ 377 h 461"/>
              <a:gd name="T12" fmla="*/ 42 w 586"/>
              <a:gd name="T13" fmla="*/ 367 h 461"/>
              <a:gd name="T14" fmla="*/ 49 w 586"/>
              <a:gd name="T15" fmla="*/ 353 h 461"/>
              <a:gd name="T16" fmla="*/ 87 w 586"/>
              <a:gd name="T17" fmla="*/ 299 h 461"/>
              <a:gd name="T18" fmla="*/ 0 w 586"/>
              <a:gd name="T19" fmla="*/ 168 h 461"/>
              <a:gd name="T20" fmla="*/ 230 w 586"/>
              <a:gd name="T21" fmla="*/ 0 h 461"/>
              <a:gd name="T22" fmla="*/ 460 w 586"/>
              <a:gd name="T23" fmla="*/ 168 h 461"/>
              <a:gd name="T24" fmla="*/ 42 w 586"/>
              <a:gd name="T25" fmla="*/ 168 h 461"/>
              <a:gd name="T26" fmla="*/ 108 w 586"/>
              <a:gd name="T27" fmla="*/ 262 h 461"/>
              <a:gd name="T28" fmla="*/ 140 w 586"/>
              <a:gd name="T29" fmla="*/ 281 h 461"/>
              <a:gd name="T30" fmla="*/ 128 w 586"/>
              <a:gd name="T31" fmla="*/ 308 h 461"/>
              <a:gd name="T32" fmla="*/ 149 w 586"/>
              <a:gd name="T33" fmla="*/ 295 h 461"/>
              <a:gd name="T34" fmla="*/ 163 w 586"/>
              <a:gd name="T35" fmla="*/ 285 h 461"/>
              <a:gd name="T36" fmla="*/ 180 w 586"/>
              <a:gd name="T37" fmla="*/ 288 h 461"/>
              <a:gd name="T38" fmla="*/ 230 w 586"/>
              <a:gd name="T39" fmla="*/ 293 h 461"/>
              <a:gd name="T40" fmla="*/ 418 w 586"/>
              <a:gd name="T41" fmla="*/ 168 h 461"/>
              <a:gd name="T42" fmla="*/ 230 w 586"/>
              <a:gd name="T43" fmla="*/ 42 h 461"/>
              <a:gd name="T44" fmla="*/ 42 w 586"/>
              <a:gd name="T45" fmla="*/ 168 h 461"/>
              <a:gd name="T46" fmla="*/ 537 w 586"/>
              <a:gd name="T47" fmla="*/ 436 h 461"/>
              <a:gd name="T48" fmla="*/ 544 w 586"/>
              <a:gd name="T49" fmla="*/ 451 h 461"/>
              <a:gd name="T50" fmla="*/ 532 w 586"/>
              <a:gd name="T51" fmla="*/ 460 h 461"/>
              <a:gd name="T52" fmla="*/ 504 w 586"/>
              <a:gd name="T53" fmla="*/ 455 h 461"/>
              <a:gd name="T54" fmla="*/ 413 w 586"/>
              <a:gd name="T55" fmla="*/ 413 h 461"/>
              <a:gd name="T56" fmla="*/ 356 w 586"/>
              <a:gd name="T57" fmla="*/ 418 h 461"/>
              <a:gd name="T58" fmla="*/ 202 w 586"/>
              <a:gd name="T59" fmla="*/ 375 h 461"/>
              <a:gd name="T60" fmla="*/ 230 w 586"/>
              <a:gd name="T61" fmla="*/ 377 h 461"/>
              <a:gd name="T62" fmla="*/ 417 w 586"/>
              <a:gd name="T63" fmla="*/ 320 h 461"/>
              <a:gd name="T64" fmla="*/ 502 w 586"/>
              <a:gd name="T65" fmla="*/ 168 h 461"/>
              <a:gd name="T66" fmla="*/ 495 w 586"/>
              <a:gd name="T67" fmla="*/ 118 h 461"/>
              <a:gd name="T68" fmla="*/ 586 w 586"/>
              <a:gd name="T69" fmla="*/ 251 h 461"/>
              <a:gd name="T70" fmla="*/ 499 w 586"/>
              <a:gd name="T71" fmla="*/ 382 h 461"/>
              <a:gd name="T72" fmla="*/ 537 w 586"/>
              <a:gd name="T73" fmla="*/ 436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6" h="461">
                <a:moveTo>
                  <a:pt x="460" y="168"/>
                </a:moveTo>
                <a:cubicBezTo>
                  <a:pt x="460" y="260"/>
                  <a:pt x="357" y="335"/>
                  <a:pt x="230" y="335"/>
                </a:cubicBezTo>
                <a:cubicBezTo>
                  <a:pt x="210" y="335"/>
                  <a:pt x="191" y="333"/>
                  <a:pt x="173" y="330"/>
                </a:cubicBezTo>
                <a:cubicBezTo>
                  <a:pt x="146" y="349"/>
                  <a:pt x="115" y="363"/>
                  <a:pt x="82" y="371"/>
                </a:cubicBezTo>
                <a:cubicBezTo>
                  <a:pt x="73" y="374"/>
                  <a:pt x="64" y="375"/>
                  <a:pt x="54" y="377"/>
                </a:cubicBezTo>
                <a:cubicBezTo>
                  <a:pt x="53" y="377"/>
                  <a:pt x="53" y="377"/>
                  <a:pt x="53" y="377"/>
                </a:cubicBezTo>
                <a:cubicBezTo>
                  <a:pt x="48" y="377"/>
                  <a:pt x="43" y="373"/>
                  <a:pt x="42" y="367"/>
                </a:cubicBezTo>
                <a:cubicBezTo>
                  <a:pt x="41" y="361"/>
                  <a:pt x="45" y="357"/>
                  <a:pt x="49" y="353"/>
                </a:cubicBezTo>
                <a:cubicBezTo>
                  <a:pt x="62" y="338"/>
                  <a:pt x="76" y="326"/>
                  <a:pt x="87" y="299"/>
                </a:cubicBezTo>
                <a:cubicBezTo>
                  <a:pt x="34" y="268"/>
                  <a:pt x="0" y="220"/>
                  <a:pt x="0" y="168"/>
                </a:cubicBezTo>
                <a:cubicBezTo>
                  <a:pt x="0" y="75"/>
                  <a:pt x="103" y="0"/>
                  <a:pt x="230" y="0"/>
                </a:cubicBezTo>
                <a:cubicBezTo>
                  <a:pt x="357" y="0"/>
                  <a:pt x="460" y="75"/>
                  <a:pt x="460" y="168"/>
                </a:cubicBezTo>
                <a:close/>
                <a:moveTo>
                  <a:pt x="42" y="168"/>
                </a:moveTo>
                <a:cubicBezTo>
                  <a:pt x="42" y="204"/>
                  <a:pt x="66" y="238"/>
                  <a:pt x="108" y="262"/>
                </a:cubicBezTo>
                <a:cubicBezTo>
                  <a:pt x="140" y="281"/>
                  <a:pt x="140" y="281"/>
                  <a:pt x="140" y="281"/>
                </a:cubicBezTo>
                <a:cubicBezTo>
                  <a:pt x="128" y="308"/>
                  <a:pt x="128" y="308"/>
                  <a:pt x="128" y="308"/>
                </a:cubicBezTo>
                <a:cubicBezTo>
                  <a:pt x="135" y="304"/>
                  <a:pt x="142" y="300"/>
                  <a:pt x="149" y="295"/>
                </a:cubicBezTo>
                <a:cubicBezTo>
                  <a:pt x="163" y="285"/>
                  <a:pt x="163" y="285"/>
                  <a:pt x="163" y="285"/>
                </a:cubicBezTo>
                <a:cubicBezTo>
                  <a:pt x="180" y="288"/>
                  <a:pt x="180" y="288"/>
                  <a:pt x="180" y="288"/>
                </a:cubicBezTo>
                <a:cubicBezTo>
                  <a:pt x="197" y="291"/>
                  <a:pt x="213" y="293"/>
                  <a:pt x="230" y="293"/>
                </a:cubicBezTo>
                <a:cubicBezTo>
                  <a:pt x="332" y="293"/>
                  <a:pt x="418" y="236"/>
                  <a:pt x="418" y="168"/>
                </a:cubicBezTo>
                <a:cubicBezTo>
                  <a:pt x="418" y="100"/>
                  <a:pt x="332" y="42"/>
                  <a:pt x="230" y="42"/>
                </a:cubicBezTo>
                <a:cubicBezTo>
                  <a:pt x="128" y="42"/>
                  <a:pt x="42" y="100"/>
                  <a:pt x="42" y="168"/>
                </a:cubicBezTo>
                <a:close/>
                <a:moveTo>
                  <a:pt x="537" y="436"/>
                </a:moveTo>
                <a:cubicBezTo>
                  <a:pt x="541" y="441"/>
                  <a:pt x="545" y="445"/>
                  <a:pt x="544" y="451"/>
                </a:cubicBezTo>
                <a:cubicBezTo>
                  <a:pt x="542" y="457"/>
                  <a:pt x="537" y="461"/>
                  <a:pt x="532" y="460"/>
                </a:cubicBezTo>
                <a:cubicBezTo>
                  <a:pt x="522" y="459"/>
                  <a:pt x="513" y="457"/>
                  <a:pt x="504" y="455"/>
                </a:cubicBezTo>
                <a:cubicBezTo>
                  <a:pt x="471" y="447"/>
                  <a:pt x="440" y="433"/>
                  <a:pt x="413" y="413"/>
                </a:cubicBezTo>
                <a:cubicBezTo>
                  <a:pt x="395" y="417"/>
                  <a:pt x="376" y="418"/>
                  <a:pt x="356" y="418"/>
                </a:cubicBezTo>
                <a:cubicBezTo>
                  <a:pt x="297" y="418"/>
                  <a:pt x="242" y="402"/>
                  <a:pt x="202" y="375"/>
                </a:cubicBezTo>
                <a:cubicBezTo>
                  <a:pt x="211" y="376"/>
                  <a:pt x="221" y="377"/>
                  <a:pt x="230" y="377"/>
                </a:cubicBezTo>
                <a:cubicBezTo>
                  <a:pt x="301" y="377"/>
                  <a:pt x="367" y="356"/>
                  <a:pt x="417" y="320"/>
                </a:cubicBezTo>
                <a:cubicBezTo>
                  <a:pt x="472" y="280"/>
                  <a:pt x="502" y="226"/>
                  <a:pt x="502" y="168"/>
                </a:cubicBezTo>
                <a:cubicBezTo>
                  <a:pt x="502" y="151"/>
                  <a:pt x="499" y="134"/>
                  <a:pt x="495" y="118"/>
                </a:cubicBezTo>
                <a:cubicBezTo>
                  <a:pt x="550" y="148"/>
                  <a:pt x="586" y="197"/>
                  <a:pt x="586" y="251"/>
                </a:cubicBezTo>
                <a:cubicBezTo>
                  <a:pt x="586" y="304"/>
                  <a:pt x="552" y="352"/>
                  <a:pt x="499" y="382"/>
                </a:cubicBezTo>
                <a:cubicBezTo>
                  <a:pt x="510" y="409"/>
                  <a:pt x="524" y="422"/>
                  <a:pt x="537" y="436"/>
                </a:cubicBezTo>
                <a:close/>
              </a:path>
            </a:pathLst>
          </a:custGeom>
          <a:solidFill>
            <a:srgbClr val="FFFFFF"/>
          </a:solidFill>
          <a:ln>
            <a:solidFill>
              <a:srgbClr val="FFFFFF"/>
            </a:solidFill>
          </a:ln>
        </p:spPr>
        <p:txBody>
          <a:bodyPr vert="horz" wrap="square" lIns="75596" tIns="37798" rIns="75596" bIns="37798" numCol="1" anchor="t" anchorCtr="0" compatLnSpc="1">
            <a:prstTxWarp prst="textNoShape">
              <a:avLst/>
            </a:prstTxWarp>
          </a:bodyPr>
          <a:lstStyle/>
          <a:p>
            <a:pPr marL="0" marR="0" lvl="0" indent="0" defTabSz="1007978" eaLnBrk="1" fontAlgn="auto" latinLnBrk="0" hangingPunct="1">
              <a:lnSpc>
                <a:spcPct val="100000"/>
              </a:lnSpc>
              <a:spcBef>
                <a:spcPts val="0"/>
              </a:spcBef>
              <a:spcAft>
                <a:spcPts val="0"/>
              </a:spcAft>
              <a:buClrTx/>
              <a:buSzTx/>
              <a:buFontTx/>
              <a:buNone/>
              <a:tabLst/>
              <a:defRPr/>
            </a:pPr>
            <a:endParaRPr kumimoji="0" lang="de-DE" sz="1488" b="0" i="0" u="none" strike="noStrike" kern="0" cap="none" spc="0" normalizeH="0" baseline="0" noProof="0" dirty="0">
              <a:ln>
                <a:noFill/>
              </a:ln>
              <a:solidFill>
                <a:srgbClr val="404040"/>
              </a:solidFill>
              <a:effectLst/>
              <a:uLnTx/>
              <a:uFillTx/>
              <a:latin typeface="Tahoma"/>
            </a:endParaRPr>
          </a:p>
        </p:txBody>
      </p:sp>
      <p:sp>
        <p:nvSpPr>
          <p:cNvPr id="22" name="Textfeld 21">
            <a:extLst>
              <a:ext uri="{FF2B5EF4-FFF2-40B4-BE49-F238E27FC236}">
                <a16:creationId xmlns:a16="http://schemas.microsoft.com/office/drawing/2014/main" id="{9C8F040F-645C-F441-946C-A9968CB698FB}"/>
              </a:ext>
            </a:extLst>
          </p:cNvPr>
          <p:cNvSpPr txBox="1"/>
          <p:nvPr/>
        </p:nvSpPr>
        <p:spPr>
          <a:xfrm>
            <a:off x="4709446" y="1929400"/>
            <a:ext cx="3569514" cy="397673"/>
          </a:xfrm>
          <a:prstGeom prst="rect">
            <a:avLst/>
          </a:prstGeom>
        </p:spPr>
        <p:txBody>
          <a:bodyPr wrap="square" rtlCol="0">
            <a:spAutoFit/>
          </a:bodyPr>
          <a:lstStyle/>
          <a:p>
            <a:pPr defTabSz="1007978">
              <a:spcBef>
                <a:spcPts val="662"/>
              </a:spcBef>
            </a:pPr>
            <a:r>
              <a:rPr lang="de-DE" sz="1984" b="1" kern="0" dirty="0">
                <a:solidFill>
                  <a:srgbClr val="FFFFFF">
                    <a:lumMod val="50000"/>
                  </a:srgbClr>
                </a:solidFill>
                <a:latin typeface="Tahoma"/>
              </a:rPr>
              <a:t>Das Kind im Mittelpunkt</a:t>
            </a:r>
          </a:p>
        </p:txBody>
      </p:sp>
      <p:sp>
        <p:nvSpPr>
          <p:cNvPr id="25" name="Textfeld 24">
            <a:extLst>
              <a:ext uri="{FF2B5EF4-FFF2-40B4-BE49-F238E27FC236}">
                <a16:creationId xmlns:a16="http://schemas.microsoft.com/office/drawing/2014/main" id="{4956F7EA-6A0E-6941-877C-8FBB5F042E59}"/>
              </a:ext>
            </a:extLst>
          </p:cNvPr>
          <p:cNvSpPr txBox="1"/>
          <p:nvPr/>
        </p:nvSpPr>
        <p:spPr>
          <a:xfrm>
            <a:off x="4810242" y="4745942"/>
            <a:ext cx="7244291" cy="1674201"/>
          </a:xfrm>
          <a:prstGeom prst="rect">
            <a:avLst/>
          </a:prstGeom>
        </p:spPr>
        <p:txBody>
          <a:bodyPr wrap="square" rtlCol="0">
            <a:noAutofit/>
          </a:bodyPr>
          <a:lstStyle/>
          <a:p>
            <a:pPr marL="283486" indent="-283486" defTabSz="1007978">
              <a:spcBef>
                <a:spcPts val="662"/>
              </a:spcBef>
              <a:buFont typeface="Arial" charset="0"/>
              <a:buChar char="•"/>
            </a:pPr>
            <a:endParaRPr lang="de-DE" sz="1543" b="1" kern="0" dirty="0">
              <a:solidFill>
                <a:srgbClr val="404040"/>
              </a:solidFill>
              <a:latin typeface="Tahoma"/>
            </a:endParaRPr>
          </a:p>
          <a:p>
            <a:pPr marL="283486" indent="-283486" defTabSz="1007978">
              <a:spcBef>
                <a:spcPts val="662"/>
              </a:spcBef>
              <a:buFont typeface="Arial" charset="0"/>
              <a:buChar char="•"/>
            </a:pPr>
            <a:endParaRPr lang="de-DE" sz="1543" b="1" kern="0" dirty="0">
              <a:solidFill>
                <a:srgbClr val="404040"/>
              </a:solidFill>
              <a:latin typeface="Tahoma"/>
            </a:endParaRPr>
          </a:p>
          <a:p>
            <a:pPr marL="283486" indent="-283486" defTabSz="1007978">
              <a:spcBef>
                <a:spcPts val="662"/>
              </a:spcBef>
              <a:buFont typeface="Arial" charset="0"/>
              <a:buChar char="•"/>
            </a:pPr>
            <a:endParaRPr lang="de-DE" sz="1543" b="1" kern="0" dirty="0">
              <a:solidFill>
                <a:srgbClr val="404040"/>
              </a:solidFill>
              <a:latin typeface="Tahoma"/>
            </a:endParaRPr>
          </a:p>
          <a:p>
            <a:pPr marL="283486" indent="-283486" defTabSz="1007978">
              <a:spcBef>
                <a:spcPts val="662"/>
              </a:spcBef>
              <a:buFont typeface="Arial" charset="0"/>
              <a:buChar char="•"/>
            </a:pPr>
            <a:endParaRPr lang="de-DE" sz="1543" b="1" kern="0" dirty="0">
              <a:solidFill>
                <a:srgbClr val="404040"/>
              </a:solidFill>
              <a:latin typeface="Tahoma"/>
            </a:endParaRPr>
          </a:p>
          <a:p>
            <a:pPr defTabSz="1007978"/>
            <a:endParaRPr lang="de-DE" sz="1488" b="1" kern="0" dirty="0">
              <a:solidFill>
                <a:srgbClr val="404040"/>
              </a:solidFill>
              <a:latin typeface="Tahoma"/>
            </a:endParaRPr>
          </a:p>
          <a:p>
            <a:pPr marL="283486" indent="-283486" defTabSz="1007978">
              <a:buFont typeface="Arial" charset="0"/>
              <a:buChar char="•"/>
            </a:pPr>
            <a:endParaRPr lang="de-DE" sz="1571" kern="0" dirty="0">
              <a:solidFill>
                <a:srgbClr val="404040"/>
              </a:solidFill>
              <a:latin typeface="Tahoma"/>
            </a:endParaRPr>
          </a:p>
          <a:p>
            <a:pPr marL="283486" indent="-283486" defTabSz="1007978">
              <a:buFont typeface="Arial" charset="0"/>
              <a:buChar char="•"/>
            </a:pPr>
            <a:endParaRPr lang="de-DE" sz="1488" kern="0" dirty="0">
              <a:solidFill>
                <a:srgbClr val="404040"/>
              </a:solidFill>
              <a:latin typeface="Tahoma"/>
            </a:endParaRPr>
          </a:p>
          <a:p>
            <a:pPr marL="283486" indent="-283486" defTabSz="1007978">
              <a:buFont typeface="Arial" charset="0"/>
              <a:buChar char="•"/>
            </a:pPr>
            <a:endParaRPr lang="de-DE" sz="1488" b="1" kern="0" dirty="0">
              <a:solidFill>
                <a:srgbClr val="404040"/>
              </a:solidFill>
              <a:latin typeface="Tahoma"/>
            </a:endParaRPr>
          </a:p>
          <a:p>
            <a:pPr marL="283486" indent="-283486" defTabSz="1007978">
              <a:buFont typeface="Arial" charset="0"/>
              <a:buChar char="•"/>
            </a:pPr>
            <a:endParaRPr lang="de-DE" sz="1488" b="1" kern="0" dirty="0">
              <a:solidFill>
                <a:srgbClr val="404040"/>
              </a:solidFill>
              <a:latin typeface="Tahoma"/>
            </a:endParaRPr>
          </a:p>
          <a:p>
            <a:pPr marL="283486" indent="-283486" defTabSz="1007978">
              <a:buFont typeface="Arial" charset="0"/>
              <a:buChar char="•"/>
            </a:pPr>
            <a:endParaRPr lang="de-DE" sz="1488" b="1" kern="0" dirty="0">
              <a:solidFill>
                <a:srgbClr val="404040"/>
              </a:solidFill>
              <a:latin typeface="Tahoma"/>
            </a:endParaRPr>
          </a:p>
          <a:p>
            <a:pPr marL="283486" indent="-283486" defTabSz="1007978">
              <a:buFont typeface="Arial" charset="0"/>
              <a:buChar char="•"/>
            </a:pPr>
            <a:endParaRPr lang="de-DE" sz="1488" b="1" kern="0" dirty="0">
              <a:solidFill>
                <a:srgbClr val="404040"/>
              </a:solidFill>
              <a:latin typeface="Tahoma"/>
            </a:endParaRPr>
          </a:p>
        </p:txBody>
      </p:sp>
      <p:pic>
        <p:nvPicPr>
          <p:cNvPr id="27" name="Grafik 26" descr="Ein Bild, das Person, drinnen, klein enthält.&#10;&#10;Automatisch generierte Beschreibung">
            <a:extLst>
              <a:ext uri="{FF2B5EF4-FFF2-40B4-BE49-F238E27FC236}">
                <a16:creationId xmlns:a16="http://schemas.microsoft.com/office/drawing/2014/main" id="{629B1A67-EC12-2246-AA8F-45ACDED2B7A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0862" y="1784230"/>
            <a:ext cx="4488584" cy="4488584"/>
          </a:xfrm>
          <a:prstGeom prst="ellipse">
            <a:avLst/>
          </a:prstGeom>
        </p:spPr>
      </p:pic>
      <p:pic>
        <p:nvPicPr>
          <p:cNvPr id="11" name="Grafik 10">
            <a:extLst>
              <a:ext uri="{FF2B5EF4-FFF2-40B4-BE49-F238E27FC236}">
                <a16:creationId xmlns:a16="http://schemas.microsoft.com/office/drawing/2014/main" id="{54ADD7BD-C880-3841-824B-E2495B5265D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1179"/>
          <a:stretch/>
        </p:blipFill>
        <p:spPr>
          <a:xfrm>
            <a:off x="0" y="65358"/>
            <a:ext cx="12384090" cy="1452195"/>
          </a:xfrm>
          <a:prstGeom prst="rect">
            <a:avLst/>
          </a:prstGeom>
        </p:spPr>
      </p:pic>
      <p:sp>
        <p:nvSpPr>
          <p:cNvPr id="12" name="Rectangle 21">
            <a:extLst>
              <a:ext uri="{FF2B5EF4-FFF2-40B4-BE49-F238E27FC236}">
                <a16:creationId xmlns:a16="http://schemas.microsoft.com/office/drawing/2014/main" id="{7BA8BBEC-1D77-FC40-8442-95CA9E78D1B1}"/>
              </a:ext>
            </a:extLst>
          </p:cNvPr>
          <p:cNvSpPr/>
          <p:nvPr/>
        </p:nvSpPr>
        <p:spPr bwMode="auto">
          <a:xfrm>
            <a:off x="0" y="56868"/>
            <a:ext cx="12239849" cy="1452196"/>
          </a:xfrm>
          <a:prstGeom prst="rect">
            <a:avLst/>
          </a:prstGeom>
          <a:solidFill>
            <a:schemeClr val="tx2">
              <a:lumMod val="60000"/>
              <a:lumOff val="40000"/>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Tree>
    <p:extLst>
      <p:ext uri="{BB962C8B-B14F-4D97-AF65-F5344CB8AC3E}">
        <p14:creationId xmlns:p14="http://schemas.microsoft.com/office/powerpoint/2010/main" val="17165734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ieren 3">
            <a:extLst>
              <a:ext uri="{FF2B5EF4-FFF2-40B4-BE49-F238E27FC236}">
                <a16:creationId xmlns:a16="http://schemas.microsoft.com/office/drawing/2014/main" id="{4CF7B51C-6D1D-984B-B623-83D1740824D7}"/>
              </a:ext>
            </a:extLst>
          </p:cNvPr>
          <p:cNvGrpSpPr/>
          <p:nvPr/>
        </p:nvGrpSpPr>
        <p:grpSpPr>
          <a:xfrm>
            <a:off x="490722" y="585744"/>
            <a:ext cx="4126160" cy="5727647"/>
            <a:chOff x="638996" y="1021665"/>
            <a:chExt cx="3693082" cy="5342590"/>
          </a:xfrm>
        </p:grpSpPr>
        <p:sp>
          <p:nvSpPr>
            <p:cNvPr id="19" name="Freeform 5">
              <a:extLst>
                <a:ext uri="{FF2B5EF4-FFF2-40B4-BE49-F238E27FC236}">
                  <a16:creationId xmlns:a16="http://schemas.microsoft.com/office/drawing/2014/main" id="{C078342B-DD67-6D44-930B-408A278499F2}"/>
                </a:ext>
              </a:extLst>
            </p:cNvPr>
            <p:cNvSpPr>
              <a:spLocks/>
            </p:cNvSpPr>
            <p:nvPr/>
          </p:nvSpPr>
          <p:spPr bwMode="auto">
            <a:xfrm>
              <a:off x="1220833" y="4732471"/>
              <a:ext cx="2667243" cy="680585"/>
            </a:xfrm>
            <a:custGeom>
              <a:avLst/>
              <a:gdLst>
                <a:gd name="T0" fmla="*/ 831 w 1419"/>
                <a:gd name="T1" fmla="*/ 0 h 362"/>
                <a:gd name="T2" fmla="*/ 831 w 1419"/>
                <a:gd name="T3" fmla="*/ 24 h 362"/>
                <a:gd name="T4" fmla="*/ 835 w 1419"/>
                <a:gd name="T5" fmla="*/ 37 h 362"/>
                <a:gd name="T6" fmla="*/ 847 w 1419"/>
                <a:gd name="T7" fmla="*/ 60 h 362"/>
                <a:gd name="T8" fmla="*/ 858 w 1419"/>
                <a:gd name="T9" fmla="*/ 99 h 362"/>
                <a:gd name="T10" fmla="*/ 858 w 1419"/>
                <a:gd name="T11" fmla="*/ 100 h 362"/>
                <a:gd name="T12" fmla="*/ 858 w 1419"/>
                <a:gd name="T13" fmla="*/ 101 h 362"/>
                <a:gd name="T14" fmla="*/ 858 w 1419"/>
                <a:gd name="T15" fmla="*/ 101 h 362"/>
                <a:gd name="T16" fmla="*/ 791 w 1419"/>
                <a:gd name="T17" fmla="*/ 154 h 362"/>
                <a:gd name="T18" fmla="*/ 724 w 1419"/>
                <a:gd name="T19" fmla="*/ 96 h 362"/>
                <a:gd name="T20" fmla="*/ 724 w 1419"/>
                <a:gd name="T21" fmla="*/ 96 h 362"/>
                <a:gd name="T22" fmla="*/ 735 w 1419"/>
                <a:gd name="T23" fmla="*/ 60 h 362"/>
                <a:gd name="T24" fmla="*/ 746 w 1419"/>
                <a:gd name="T25" fmla="*/ 39 h 362"/>
                <a:gd name="T26" fmla="*/ 750 w 1419"/>
                <a:gd name="T27" fmla="*/ 24 h 362"/>
                <a:gd name="T28" fmla="*/ 751 w 1419"/>
                <a:gd name="T29" fmla="*/ 24 h 362"/>
                <a:gd name="T30" fmla="*/ 751 w 1419"/>
                <a:gd name="T31" fmla="*/ 0 h 362"/>
                <a:gd name="T32" fmla="*/ 30 w 1419"/>
                <a:gd name="T33" fmla="*/ 0 h 362"/>
                <a:gd name="T34" fmla="*/ 0 w 1419"/>
                <a:gd name="T35" fmla="*/ 161 h 362"/>
                <a:gd name="T36" fmla="*/ 876 w 1419"/>
                <a:gd name="T37" fmla="*/ 362 h 362"/>
                <a:gd name="T38" fmla="*/ 953 w 1419"/>
                <a:gd name="T39" fmla="*/ 133 h 362"/>
                <a:gd name="T40" fmla="*/ 1362 w 1419"/>
                <a:gd name="T41" fmla="*/ 133 h 362"/>
                <a:gd name="T42" fmla="*/ 1419 w 1419"/>
                <a:gd name="T43" fmla="*/ 0 h 362"/>
                <a:gd name="T44" fmla="*/ 831 w 1419"/>
                <a:gd name="T45"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19" h="362">
                  <a:moveTo>
                    <a:pt x="831" y="0"/>
                  </a:moveTo>
                  <a:cubicBezTo>
                    <a:pt x="831" y="24"/>
                    <a:pt x="831" y="24"/>
                    <a:pt x="831" y="24"/>
                  </a:cubicBezTo>
                  <a:cubicBezTo>
                    <a:pt x="835" y="37"/>
                    <a:pt x="835" y="37"/>
                    <a:pt x="835" y="37"/>
                  </a:cubicBezTo>
                  <a:cubicBezTo>
                    <a:pt x="838" y="46"/>
                    <a:pt x="840" y="50"/>
                    <a:pt x="847" y="60"/>
                  </a:cubicBezTo>
                  <a:cubicBezTo>
                    <a:pt x="856" y="71"/>
                    <a:pt x="859" y="84"/>
                    <a:pt x="858" y="99"/>
                  </a:cubicBezTo>
                  <a:cubicBezTo>
                    <a:pt x="858" y="99"/>
                    <a:pt x="858" y="100"/>
                    <a:pt x="858" y="100"/>
                  </a:cubicBezTo>
                  <a:cubicBezTo>
                    <a:pt x="858" y="101"/>
                    <a:pt x="858" y="101"/>
                    <a:pt x="858" y="101"/>
                  </a:cubicBezTo>
                  <a:cubicBezTo>
                    <a:pt x="858" y="101"/>
                    <a:pt x="858" y="101"/>
                    <a:pt x="858" y="101"/>
                  </a:cubicBezTo>
                  <a:cubicBezTo>
                    <a:pt x="855" y="130"/>
                    <a:pt x="826" y="154"/>
                    <a:pt x="791" y="154"/>
                  </a:cubicBezTo>
                  <a:cubicBezTo>
                    <a:pt x="754" y="154"/>
                    <a:pt x="724" y="128"/>
                    <a:pt x="724" y="96"/>
                  </a:cubicBezTo>
                  <a:cubicBezTo>
                    <a:pt x="724" y="96"/>
                    <a:pt x="724" y="96"/>
                    <a:pt x="724" y="96"/>
                  </a:cubicBezTo>
                  <a:cubicBezTo>
                    <a:pt x="723" y="82"/>
                    <a:pt x="727" y="71"/>
                    <a:pt x="735" y="60"/>
                  </a:cubicBezTo>
                  <a:cubicBezTo>
                    <a:pt x="741" y="51"/>
                    <a:pt x="744" y="47"/>
                    <a:pt x="746" y="39"/>
                  </a:cubicBezTo>
                  <a:cubicBezTo>
                    <a:pt x="750" y="24"/>
                    <a:pt x="750" y="24"/>
                    <a:pt x="750" y="24"/>
                  </a:cubicBezTo>
                  <a:cubicBezTo>
                    <a:pt x="751" y="24"/>
                    <a:pt x="751" y="24"/>
                    <a:pt x="751" y="24"/>
                  </a:cubicBezTo>
                  <a:cubicBezTo>
                    <a:pt x="751" y="0"/>
                    <a:pt x="751" y="0"/>
                    <a:pt x="751" y="0"/>
                  </a:cubicBezTo>
                  <a:cubicBezTo>
                    <a:pt x="30" y="0"/>
                    <a:pt x="30" y="0"/>
                    <a:pt x="30" y="0"/>
                  </a:cubicBezTo>
                  <a:cubicBezTo>
                    <a:pt x="18" y="87"/>
                    <a:pt x="0" y="161"/>
                    <a:pt x="0" y="161"/>
                  </a:cubicBezTo>
                  <a:cubicBezTo>
                    <a:pt x="876" y="362"/>
                    <a:pt x="876" y="362"/>
                    <a:pt x="876" y="362"/>
                  </a:cubicBezTo>
                  <a:cubicBezTo>
                    <a:pt x="876" y="362"/>
                    <a:pt x="908" y="149"/>
                    <a:pt x="953" y="133"/>
                  </a:cubicBezTo>
                  <a:cubicBezTo>
                    <a:pt x="997" y="117"/>
                    <a:pt x="1278" y="237"/>
                    <a:pt x="1362" y="133"/>
                  </a:cubicBezTo>
                  <a:cubicBezTo>
                    <a:pt x="1399" y="87"/>
                    <a:pt x="1414" y="40"/>
                    <a:pt x="1419" y="0"/>
                  </a:cubicBezTo>
                  <a:lnTo>
                    <a:pt x="831" y="0"/>
                  </a:lnTo>
                  <a:close/>
                </a:path>
              </a:pathLst>
            </a:cu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defTabSz="1042526"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a:ln>
                  <a:noFill/>
                </a:ln>
                <a:solidFill>
                  <a:srgbClr val="404040"/>
                </a:solidFill>
                <a:effectLst/>
                <a:uLnTx/>
                <a:uFillTx/>
                <a:latin typeface="Tahoma"/>
              </a:endParaRPr>
            </a:p>
          </p:txBody>
        </p:sp>
        <p:sp>
          <p:nvSpPr>
            <p:cNvPr id="20" name="Freeform 6">
              <a:extLst>
                <a:ext uri="{FF2B5EF4-FFF2-40B4-BE49-F238E27FC236}">
                  <a16:creationId xmlns:a16="http://schemas.microsoft.com/office/drawing/2014/main" id="{83DB6240-84F3-2C41-9E7E-50593A1D56CA}"/>
                </a:ext>
              </a:extLst>
            </p:cNvPr>
            <p:cNvSpPr>
              <a:spLocks/>
            </p:cNvSpPr>
            <p:nvPr/>
          </p:nvSpPr>
          <p:spPr bwMode="auto">
            <a:xfrm>
              <a:off x="3123229" y="1883739"/>
              <a:ext cx="936614" cy="811841"/>
            </a:xfrm>
            <a:custGeom>
              <a:avLst/>
              <a:gdLst>
                <a:gd name="T0" fmla="*/ 382 w 498"/>
                <a:gd name="T1" fmla="*/ 0 h 432"/>
                <a:gd name="T2" fmla="*/ 0 w 498"/>
                <a:gd name="T3" fmla="*/ 0 h 432"/>
                <a:gd name="T4" fmla="*/ 0 w 498"/>
                <a:gd name="T5" fmla="*/ 432 h 432"/>
                <a:gd name="T6" fmla="*/ 65 w 498"/>
                <a:gd name="T7" fmla="*/ 432 h 432"/>
                <a:gd name="T8" fmla="*/ 65 w 498"/>
                <a:gd name="T9" fmla="*/ 420 h 432"/>
                <a:gd name="T10" fmla="*/ 62 w 498"/>
                <a:gd name="T11" fmla="*/ 407 h 432"/>
                <a:gd name="T12" fmla="*/ 49 w 498"/>
                <a:gd name="T13" fmla="*/ 384 h 432"/>
                <a:gd name="T14" fmla="*/ 39 w 498"/>
                <a:gd name="T15" fmla="*/ 345 h 432"/>
                <a:gd name="T16" fmla="*/ 39 w 498"/>
                <a:gd name="T17" fmla="*/ 344 h 432"/>
                <a:gd name="T18" fmla="*/ 39 w 498"/>
                <a:gd name="T19" fmla="*/ 343 h 432"/>
                <a:gd name="T20" fmla="*/ 39 w 498"/>
                <a:gd name="T21" fmla="*/ 343 h 432"/>
                <a:gd name="T22" fmla="*/ 106 w 498"/>
                <a:gd name="T23" fmla="*/ 290 h 432"/>
                <a:gd name="T24" fmla="*/ 173 w 498"/>
                <a:gd name="T25" fmla="*/ 348 h 432"/>
                <a:gd name="T26" fmla="*/ 173 w 498"/>
                <a:gd name="T27" fmla="*/ 348 h 432"/>
                <a:gd name="T28" fmla="*/ 162 w 498"/>
                <a:gd name="T29" fmla="*/ 384 h 432"/>
                <a:gd name="T30" fmla="*/ 150 w 498"/>
                <a:gd name="T31" fmla="*/ 405 h 432"/>
                <a:gd name="T32" fmla="*/ 146 w 498"/>
                <a:gd name="T33" fmla="*/ 420 h 432"/>
                <a:gd name="T34" fmla="*/ 146 w 498"/>
                <a:gd name="T35" fmla="*/ 420 h 432"/>
                <a:gd name="T36" fmla="*/ 146 w 498"/>
                <a:gd name="T37" fmla="*/ 432 h 432"/>
                <a:gd name="T38" fmla="*/ 491 w 498"/>
                <a:gd name="T39" fmla="*/ 432 h 432"/>
                <a:gd name="T40" fmla="*/ 382 w 498"/>
                <a:gd name="T41" fmla="*/ 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8" h="432">
                  <a:moveTo>
                    <a:pt x="382" y="0"/>
                  </a:moveTo>
                  <a:cubicBezTo>
                    <a:pt x="0" y="0"/>
                    <a:pt x="0" y="0"/>
                    <a:pt x="0" y="0"/>
                  </a:cubicBezTo>
                  <a:cubicBezTo>
                    <a:pt x="0" y="432"/>
                    <a:pt x="0" y="432"/>
                    <a:pt x="0" y="432"/>
                  </a:cubicBezTo>
                  <a:cubicBezTo>
                    <a:pt x="65" y="432"/>
                    <a:pt x="65" y="432"/>
                    <a:pt x="65" y="432"/>
                  </a:cubicBezTo>
                  <a:cubicBezTo>
                    <a:pt x="65" y="420"/>
                    <a:pt x="65" y="420"/>
                    <a:pt x="65" y="420"/>
                  </a:cubicBezTo>
                  <a:cubicBezTo>
                    <a:pt x="62" y="407"/>
                    <a:pt x="62" y="407"/>
                    <a:pt x="62" y="407"/>
                  </a:cubicBezTo>
                  <a:cubicBezTo>
                    <a:pt x="59" y="398"/>
                    <a:pt x="56" y="394"/>
                    <a:pt x="49" y="384"/>
                  </a:cubicBezTo>
                  <a:cubicBezTo>
                    <a:pt x="41" y="373"/>
                    <a:pt x="37" y="360"/>
                    <a:pt x="39" y="345"/>
                  </a:cubicBezTo>
                  <a:cubicBezTo>
                    <a:pt x="39" y="345"/>
                    <a:pt x="39" y="344"/>
                    <a:pt x="39" y="344"/>
                  </a:cubicBezTo>
                  <a:cubicBezTo>
                    <a:pt x="39" y="343"/>
                    <a:pt x="39" y="343"/>
                    <a:pt x="39" y="343"/>
                  </a:cubicBezTo>
                  <a:cubicBezTo>
                    <a:pt x="39" y="343"/>
                    <a:pt x="39" y="343"/>
                    <a:pt x="39" y="343"/>
                  </a:cubicBezTo>
                  <a:cubicBezTo>
                    <a:pt x="42" y="314"/>
                    <a:pt x="71" y="290"/>
                    <a:pt x="106" y="290"/>
                  </a:cubicBezTo>
                  <a:cubicBezTo>
                    <a:pt x="143" y="290"/>
                    <a:pt x="173" y="316"/>
                    <a:pt x="173" y="348"/>
                  </a:cubicBezTo>
                  <a:cubicBezTo>
                    <a:pt x="173" y="348"/>
                    <a:pt x="173" y="348"/>
                    <a:pt x="173" y="348"/>
                  </a:cubicBezTo>
                  <a:cubicBezTo>
                    <a:pt x="173" y="362"/>
                    <a:pt x="170" y="373"/>
                    <a:pt x="162" y="384"/>
                  </a:cubicBezTo>
                  <a:cubicBezTo>
                    <a:pt x="156" y="393"/>
                    <a:pt x="153" y="397"/>
                    <a:pt x="150" y="405"/>
                  </a:cubicBezTo>
                  <a:cubicBezTo>
                    <a:pt x="146" y="420"/>
                    <a:pt x="146" y="420"/>
                    <a:pt x="146" y="420"/>
                  </a:cubicBezTo>
                  <a:cubicBezTo>
                    <a:pt x="146" y="420"/>
                    <a:pt x="146" y="420"/>
                    <a:pt x="146" y="420"/>
                  </a:cubicBezTo>
                  <a:cubicBezTo>
                    <a:pt x="146" y="432"/>
                    <a:pt x="146" y="432"/>
                    <a:pt x="146" y="432"/>
                  </a:cubicBezTo>
                  <a:cubicBezTo>
                    <a:pt x="491" y="432"/>
                    <a:pt x="491" y="432"/>
                    <a:pt x="491" y="432"/>
                  </a:cubicBezTo>
                  <a:cubicBezTo>
                    <a:pt x="498" y="320"/>
                    <a:pt x="483" y="157"/>
                    <a:pt x="382" y="0"/>
                  </a:cubicBezTo>
                  <a:close/>
                </a:path>
              </a:pathLst>
            </a:custGeom>
            <a:solidFill>
              <a:srgbClr val="A6A6A6"/>
            </a:solidFill>
            <a:ln>
              <a:noFill/>
            </a:ln>
          </p:spPr>
          <p:txBody>
            <a:bodyPr vert="horz" wrap="square" lIns="91440" tIns="45720" rIns="91440" bIns="45720" numCol="1" anchor="t" anchorCtr="0" compatLnSpc="1">
              <a:prstTxWarp prst="textNoShape">
                <a:avLst/>
              </a:prstTxWarp>
            </a:bodyPr>
            <a:lstStyle/>
            <a:p>
              <a:pPr marL="0" marR="0" lvl="0" indent="0" defTabSz="1042526"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a:ln>
                  <a:noFill/>
                </a:ln>
                <a:solidFill>
                  <a:srgbClr val="404040"/>
                </a:solidFill>
                <a:effectLst/>
                <a:uLnTx/>
                <a:uFillTx/>
                <a:latin typeface="Tahoma"/>
              </a:endParaRPr>
            </a:p>
          </p:txBody>
        </p:sp>
        <p:sp>
          <p:nvSpPr>
            <p:cNvPr id="21" name="Freeform 9">
              <a:extLst>
                <a:ext uri="{FF2B5EF4-FFF2-40B4-BE49-F238E27FC236}">
                  <a16:creationId xmlns:a16="http://schemas.microsoft.com/office/drawing/2014/main" id="{7507D5C1-1B15-5C46-8AFD-AF97AC5073C1}"/>
                </a:ext>
              </a:extLst>
            </p:cNvPr>
            <p:cNvSpPr>
              <a:spLocks/>
            </p:cNvSpPr>
            <p:nvPr/>
          </p:nvSpPr>
          <p:spPr bwMode="auto">
            <a:xfrm>
              <a:off x="1635666" y="1021665"/>
              <a:ext cx="2104950" cy="724336"/>
            </a:xfrm>
            <a:custGeom>
              <a:avLst/>
              <a:gdLst>
                <a:gd name="T0" fmla="*/ 793 w 1120"/>
                <a:gd name="T1" fmla="*/ 146 h 385"/>
                <a:gd name="T2" fmla="*/ 0 w 1120"/>
                <a:gd name="T3" fmla="*/ 136 h 385"/>
                <a:gd name="T4" fmla="*/ 0 w 1120"/>
                <a:gd name="T5" fmla="*/ 385 h 385"/>
                <a:gd name="T6" fmla="*/ 603 w 1120"/>
                <a:gd name="T7" fmla="*/ 385 h 385"/>
                <a:gd name="T8" fmla="*/ 603 w 1120"/>
                <a:gd name="T9" fmla="*/ 342 h 385"/>
                <a:gd name="T10" fmla="*/ 600 w 1120"/>
                <a:gd name="T11" fmla="*/ 330 h 385"/>
                <a:gd name="T12" fmla="*/ 587 w 1120"/>
                <a:gd name="T13" fmla="*/ 307 h 385"/>
                <a:gd name="T14" fmla="*/ 577 w 1120"/>
                <a:gd name="T15" fmla="*/ 267 h 385"/>
                <a:gd name="T16" fmla="*/ 577 w 1120"/>
                <a:gd name="T17" fmla="*/ 266 h 385"/>
                <a:gd name="T18" fmla="*/ 577 w 1120"/>
                <a:gd name="T19" fmla="*/ 266 h 385"/>
                <a:gd name="T20" fmla="*/ 577 w 1120"/>
                <a:gd name="T21" fmla="*/ 266 h 385"/>
                <a:gd name="T22" fmla="*/ 644 w 1120"/>
                <a:gd name="T23" fmla="*/ 212 h 385"/>
                <a:gd name="T24" fmla="*/ 711 w 1120"/>
                <a:gd name="T25" fmla="*/ 270 h 385"/>
                <a:gd name="T26" fmla="*/ 711 w 1120"/>
                <a:gd name="T27" fmla="*/ 270 h 385"/>
                <a:gd name="T28" fmla="*/ 700 w 1120"/>
                <a:gd name="T29" fmla="*/ 307 h 385"/>
                <a:gd name="T30" fmla="*/ 688 w 1120"/>
                <a:gd name="T31" fmla="*/ 327 h 385"/>
                <a:gd name="T32" fmla="*/ 684 w 1120"/>
                <a:gd name="T33" fmla="*/ 342 h 385"/>
                <a:gd name="T34" fmla="*/ 684 w 1120"/>
                <a:gd name="T35" fmla="*/ 342 h 385"/>
                <a:gd name="T36" fmla="*/ 684 w 1120"/>
                <a:gd name="T37" fmla="*/ 385 h 385"/>
                <a:gd name="T38" fmla="*/ 1120 w 1120"/>
                <a:gd name="T39" fmla="*/ 385 h 385"/>
                <a:gd name="T40" fmla="*/ 793 w 1120"/>
                <a:gd name="T41" fmla="*/ 14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20" h="385">
                  <a:moveTo>
                    <a:pt x="793" y="146"/>
                  </a:moveTo>
                  <a:cubicBezTo>
                    <a:pt x="476" y="0"/>
                    <a:pt x="207" y="32"/>
                    <a:pt x="0" y="136"/>
                  </a:cubicBezTo>
                  <a:cubicBezTo>
                    <a:pt x="0" y="385"/>
                    <a:pt x="0" y="385"/>
                    <a:pt x="0" y="385"/>
                  </a:cubicBezTo>
                  <a:cubicBezTo>
                    <a:pt x="603" y="385"/>
                    <a:pt x="603" y="385"/>
                    <a:pt x="603" y="385"/>
                  </a:cubicBezTo>
                  <a:cubicBezTo>
                    <a:pt x="603" y="342"/>
                    <a:pt x="603" y="342"/>
                    <a:pt x="603" y="342"/>
                  </a:cubicBezTo>
                  <a:cubicBezTo>
                    <a:pt x="600" y="330"/>
                    <a:pt x="600" y="330"/>
                    <a:pt x="600" y="330"/>
                  </a:cubicBezTo>
                  <a:cubicBezTo>
                    <a:pt x="597" y="320"/>
                    <a:pt x="594" y="316"/>
                    <a:pt x="587" y="307"/>
                  </a:cubicBezTo>
                  <a:cubicBezTo>
                    <a:pt x="579" y="295"/>
                    <a:pt x="575" y="282"/>
                    <a:pt x="577" y="267"/>
                  </a:cubicBezTo>
                  <a:cubicBezTo>
                    <a:pt x="577" y="267"/>
                    <a:pt x="577" y="267"/>
                    <a:pt x="577" y="266"/>
                  </a:cubicBezTo>
                  <a:cubicBezTo>
                    <a:pt x="577" y="266"/>
                    <a:pt x="577" y="266"/>
                    <a:pt x="577" y="266"/>
                  </a:cubicBezTo>
                  <a:cubicBezTo>
                    <a:pt x="577" y="266"/>
                    <a:pt x="577" y="266"/>
                    <a:pt x="577" y="266"/>
                  </a:cubicBezTo>
                  <a:cubicBezTo>
                    <a:pt x="580" y="236"/>
                    <a:pt x="609" y="212"/>
                    <a:pt x="644" y="212"/>
                  </a:cubicBezTo>
                  <a:cubicBezTo>
                    <a:pt x="681" y="212"/>
                    <a:pt x="711" y="238"/>
                    <a:pt x="711" y="270"/>
                  </a:cubicBezTo>
                  <a:cubicBezTo>
                    <a:pt x="711" y="270"/>
                    <a:pt x="711" y="270"/>
                    <a:pt x="711" y="270"/>
                  </a:cubicBezTo>
                  <a:cubicBezTo>
                    <a:pt x="712" y="284"/>
                    <a:pt x="708" y="296"/>
                    <a:pt x="700" y="307"/>
                  </a:cubicBezTo>
                  <a:cubicBezTo>
                    <a:pt x="694" y="315"/>
                    <a:pt x="691" y="319"/>
                    <a:pt x="688" y="327"/>
                  </a:cubicBezTo>
                  <a:cubicBezTo>
                    <a:pt x="684" y="342"/>
                    <a:pt x="684" y="342"/>
                    <a:pt x="684" y="342"/>
                  </a:cubicBezTo>
                  <a:cubicBezTo>
                    <a:pt x="684" y="342"/>
                    <a:pt x="684" y="342"/>
                    <a:pt x="684" y="342"/>
                  </a:cubicBezTo>
                  <a:cubicBezTo>
                    <a:pt x="684" y="385"/>
                    <a:pt x="684" y="385"/>
                    <a:pt x="684" y="385"/>
                  </a:cubicBezTo>
                  <a:cubicBezTo>
                    <a:pt x="1120" y="385"/>
                    <a:pt x="1120" y="385"/>
                    <a:pt x="1120" y="385"/>
                  </a:cubicBezTo>
                  <a:cubicBezTo>
                    <a:pt x="1046" y="297"/>
                    <a:pt x="941" y="215"/>
                    <a:pt x="793" y="146"/>
                  </a:cubicBezTo>
                  <a:close/>
                </a:path>
              </a:pathLst>
            </a:custGeom>
            <a:solidFill>
              <a:srgbClr val="004080"/>
            </a:solidFill>
            <a:ln>
              <a:noFill/>
            </a:ln>
          </p:spPr>
          <p:txBody>
            <a:bodyPr vert="horz" wrap="square" lIns="91440" tIns="45720" rIns="91440" bIns="45720" numCol="1" anchor="t" anchorCtr="0" compatLnSpc="1">
              <a:prstTxWarp prst="textNoShape">
                <a:avLst/>
              </a:prstTxWarp>
            </a:bodyPr>
            <a:lstStyle/>
            <a:p>
              <a:pPr marL="0" marR="0" lvl="0" indent="0" defTabSz="1042526"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a:ln>
                  <a:noFill/>
                </a:ln>
                <a:solidFill>
                  <a:srgbClr val="404040"/>
                </a:solidFill>
                <a:effectLst/>
                <a:uLnTx/>
                <a:uFillTx/>
                <a:latin typeface="Tahoma"/>
              </a:endParaRPr>
            </a:p>
          </p:txBody>
        </p:sp>
        <p:sp>
          <p:nvSpPr>
            <p:cNvPr id="22" name="Freeform 13">
              <a:extLst>
                <a:ext uri="{FF2B5EF4-FFF2-40B4-BE49-F238E27FC236}">
                  <a16:creationId xmlns:a16="http://schemas.microsoft.com/office/drawing/2014/main" id="{A8668072-07F0-C349-B85A-C4D84FEC193E}"/>
                </a:ext>
              </a:extLst>
            </p:cNvPr>
            <p:cNvSpPr>
              <a:spLocks/>
            </p:cNvSpPr>
            <p:nvPr/>
          </p:nvSpPr>
          <p:spPr bwMode="auto">
            <a:xfrm>
              <a:off x="2356761" y="3782894"/>
              <a:ext cx="379183" cy="813461"/>
            </a:xfrm>
            <a:custGeom>
              <a:avLst/>
              <a:gdLst>
                <a:gd name="T0" fmla="*/ 234 w 234"/>
                <a:gd name="T1" fmla="*/ 0 h 502"/>
                <a:gd name="T2" fmla="*/ 0 w 234"/>
                <a:gd name="T3" fmla="*/ 0 h 502"/>
                <a:gd name="T4" fmla="*/ 0 w 234"/>
                <a:gd name="T5" fmla="*/ 502 h 502"/>
                <a:gd name="T6" fmla="*/ 0 w 234"/>
                <a:gd name="T7" fmla="*/ 502 h 502"/>
                <a:gd name="T8" fmla="*/ 234 w 234"/>
                <a:gd name="T9" fmla="*/ 0 h 502"/>
              </a:gdLst>
              <a:ahLst/>
              <a:cxnLst>
                <a:cxn ang="0">
                  <a:pos x="T0" y="T1"/>
                </a:cxn>
                <a:cxn ang="0">
                  <a:pos x="T2" y="T3"/>
                </a:cxn>
                <a:cxn ang="0">
                  <a:pos x="T4" y="T5"/>
                </a:cxn>
                <a:cxn ang="0">
                  <a:pos x="T6" y="T7"/>
                </a:cxn>
                <a:cxn ang="0">
                  <a:pos x="T8" y="T9"/>
                </a:cxn>
              </a:cxnLst>
              <a:rect l="0" t="0" r="r" b="b"/>
              <a:pathLst>
                <a:path w="234" h="502">
                  <a:moveTo>
                    <a:pt x="234" y="0"/>
                  </a:moveTo>
                  <a:lnTo>
                    <a:pt x="0" y="0"/>
                  </a:lnTo>
                  <a:lnTo>
                    <a:pt x="0" y="502"/>
                  </a:lnTo>
                  <a:lnTo>
                    <a:pt x="0" y="502"/>
                  </a:lnTo>
                  <a:lnTo>
                    <a:pt x="234"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42526"/>
              <a:endParaRPr lang="en-US" sz="2100">
                <a:solidFill>
                  <a:srgbClr val="404040"/>
                </a:solidFill>
                <a:latin typeface="Tahoma"/>
              </a:endParaRPr>
            </a:p>
          </p:txBody>
        </p:sp>
        <p:sp>
          <p:nvSpPr>
            <p:cNvPr id="23" name="Freeform 18">
              <a:extLst>
                <a:ext uri="{FF2B5EF4-FFF2-40B4-BE49-F238E27FC236}">
                  <a16:creationId xmlns:a16="http://schemas.microsoft.com/office/drawing/2014/main" id="{144BF934-D410-A946-9239-7BE691D74B8F}"/>
                </a:ext>
              </a:extLst>
            </p:cNvPr>
            <p:cNvSpPr>
              <a:spLocks/>
            </p:cNvSpPr>
            <p:nvPr/>
          </p:nvSpPr>
          <p:spPr bwMode="auto">
            <a:xfrm>
              <a:off x="1053927" y="1357097"/>
              <a:ext cx="442381" cy="388906"/>
            </a:xfrm>
            <a:custGeom>
              <a:avLst/>
              <a:gdLst>
                <a:gd name="T0" fmla="*/ 235 w 235"/>
                <a:gd name="T1" fmla="*/ 207 h 207"/>
                <a:gd name="T2" fmla="*/ 235 w 235"/>
                <a:gd name="T3" fmla="*/ 0 h 207"/>
                <a:gd name="T4" fmla="*/ 0 w 235"/>
                <a:gd name="T5" fmla="*/ 207 h 207"/>
                <a:gd name="T6" fmla="*/ 235 w 235"/>
                <a:gd name="T7" fmla="*/ 207 h 207"/>
              </a:gdLst>
              <a:ahLst/>
              <a:cxnLst>
                <a:cxn ang="0">
                  <a:pos x="T0" y="T1"/>
                </a:cxn>
                <a:cxn ang="0">
                  <a:pos x="T2" y="T3"/>
                </a:cxn>
                <a:cxn ang="0">
                  <a:pos x="T4" y="T5"/>
                </a:cxn>
                <a:cxn ang="0">
                  <a:pos x="T6" y="T7"/>
                </a:cxn>
              </a:cxnLst>
              <a:rect l="0" t="0" r="r" b="b"/>
              <a:pathLst>
                <a:path w="235" h="207">
                  <a:moveTo>
                    <a:pt x="235" y="207"/>
                  </a:moveTo>
                  <a:cubicBezTo>
                    <a:pt x="235" y="0"/>
                    <a:pt x="235" y="0"/>
                    <a:pt x="235" y="0"/>
                  </a:cubicBezTo>
                  <a:cubicBezTo>
                    <a:pt x="141" y="58"/>
                    <a:pt x="62" y="132"/>
                    <a:pt x="0" y="207"/>
                  </a:cubicBezTo>
                  <a:lnTo>
                    <a:pt x="235" y="207"/>
                  </a:lnTo>
                  <a:close/>
                </a:path>
              </a:pathLst>
            </a:custGeom>
            <a:solidFill>
              <a:srgbClr val="A6A6A6"/>
            </a:solidFill>
            <a:ln>
              <a:noFill/>
            </a:ln>
          </p:spPr>
          <p:txBody>
            <a:bodyPr vert="horz" wrap="square" lIns="91440" tIns="45720" rIns="91440" bIns="45720" numCol="1" anchor="t" anchorCtr="0" compatLnSpc="1">
              <a:prstTxWarp prst="textNoShape">
                <a:avLst/>
              </a:prstTxWarp>
            </a:bodyPr>
            <a:lstStyle/>
            <a:p>
              <a:pPr marL="0" marR="0" lvl="0" indent="0" defTabSz="1042526"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a:ln>
                  <a:noFill/>
                </a:ln>
                <a:solidFill>
                  <a:srgbClr val="404040"/>
                </a:solidFill>
                <a:effectLst/>
                <a:uLnTx/>
                <a:uFillTx/>
                <a:latin typeface="Tahoma"/>
              </a:endParaRPr>
            </a:p>
          </p:txBody>
        </p:sp>
        <p:sp>
          <p:nvSpPr>
            <p:cNvPr id="24" name="Freeform 20">
              <a:extLst>
                <a:ext uri="{FF2B5EF4-FFF2-40B4-BE49-F238E27FC236}">
                  <a16:creationId xmlns:a16="http://schemas.microsoft.com/office/drawing/2014/main" id="{7F0B2093-C6DC-A84E-8CDE-7C0C2BA7DBE1}"/>
                </a:ext>
              </a:extLst>
            </p:cNvPr>
            <p:cNvSpPr>
              <a:spLocks/>
            </p:cNvSpPr>
            <p:nvPr/>
          </p:nvSpPr>
          <p:spPr bwMode="auto">
            <a:xfrm>
              <a:off x="1635666" y="1883739"/>
              <a:ext cx="1156994" cy="811841"/>
            </a:xfrm>
            <a:custGeom>
              <a:avLst/>
              <a:gdLst>
                <a:gd name="T0" fmla="*/ 714 w 714"/>
                <a:gd name="T1" fmla="*/ 0 h 501"/>
                <a:gd name="T2" fmla="*/ 0 w 714"/>
                <a:gd name="T3" fmla="*/ 0 h 501"/>
                <a:gd name="T4" fmla="*/ 0 w 714"/>
                <a:gd name="T5" fmla="*/ 501 h 501"/>
                <a:gd name="T6" fmla="*/ 433 w 714"/>
                <a:gd name="T7" fmla="*/ 501 h 501"/>
                <a:gd name="T8" fmla="*/ 714 w 714"/>
                <a:gd name="T9" fmla="*/ 0 h 501"/>
              </a:gdLst>
              <a:ahLst/>
              <a:cxnLst>
                <a:cxn ang="0">
                  <a:pos x="T0" y="T1"/>
                </a:cxn>
                <a:cxn ang="0">
                  <a:pos x="T2" y="T3"/>
                </a:cxn>
                <a:cxn ang="0">
                  <a:pos x="T4" y="T5"/>
                </a:cxn>
                <a:cxn ang="0">
                  <a:pos x="T6" y="T7"/>
                </a:cxn>
                <a:cxn ang="0">
                  <a:pos x="T8" y="T9"/>
                </a:cxn>
              </a:cxnLst>
              <a:rect l="0" t="0" r="r" b="b"/>
              <a:pathLst>
                <a:path w="714" h="501">
                  <a:moveTo>
                    <a:pt x="714" y="0"/>
                  </a:moveTo>
                  <a:lnTo>
                    <a:pt x="0" y="0"/>
                  </a:lnTo>
                  <a:lnTo>
                    <a:pt x="0" y="501"/>
                  </a:lnTo>
                  <a:lnTo>
                    <a:pt x="433" y="501"/>
                  </a:lnTo>
                  <a:lnTo>
                    <a:pt x="714"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42526"/>
              <a:endParaRPr lang="en-US" sz="2100">
                <a:solidFill>
                  <a:srgbClr val="404040"/>
                </a:solidFill>
                <a:latin typeface="Tahoma"/>
              </a:endParaRPr>
            </a:p>
          </p:txBody>
        </p:sp>
        <p:sp>
          <p:nvSpPr>
            <p:cNvPr id="25" name="Freeform 22">
              <a:extLst>
                <a:ext uri="{FF2B5EF4-FFF2-40B4-BE49-F238E27FC236}">
                  <a16:creationId xmlns:a16="http://schemas.microsoft.com/office/drawing/2014/main" id="{CC3EB6F3-036C-2045-81C7-D62BA9A81CCF}"/>
                </a:ext>
              </a:extLst>
            </p:cNvPr>
            <p:cNvSpPr>
              <a:spLocks/>
            </p:cNvSpPr>
            <p:nvPr/>
          </p:nvSpPr>
          <p:spPr bwMode="auto">
            <a:xfrm>
              <a:off x="653679" y="5383889"/>
              <a:ext cx="2785535" cy="980366"/>
            </a:xfrm>
            <a:custGeom>
              <a:avLst/>
              <a:gdLst>
                <a:gd name="T0" fmla="*/ 0 w 1719"/>
                <a:gd name="T1" fmla="*/ 605 h 605"/>
                <a:gd name="T2" fmla="*/ 224 w 1719"/>
                <a:gd name="T3" fmla="*/ 0 h 605"/>
                <a:gd name="T4" fmla="*/ 1440 w 1719"/>
                <a:gd name="T5" fmla="*/ 261 h 605"/>
                <a:gd name="T6" fmla="*/ 1440 w 1719"/>
                <a:gd name="T7" fmla="*/ 218 h 605"/>
                <a:gd name="T8" fmla="*/ 1719 w 1719"/>
                <a:gd name="T9" fmla="*/ 605 h 605"/>
                <a:gd name="T10" fmla="*/ 0 w 1719"/>
                <a:gd name="T11" fmla="*/ 605 h 605"/>
              </a:gdLst>
              <a:ahLst/>
              <a:cxnLst>
                <a:cxn ang="0">
                  <a:pos x="T0" y="T1"/>
                </a:cxn>
                <a:cxn ang="0">
                  <a:pos x="T2" y="T3"/>
                </a:cxn>
                <a:cxn ang="0">
                  <a:pos x="T4" y="T5"/>
                </a:cxn>
                <a:cxn ang="0">
                  <a:pos x="T6" y="T7"/>
                </a:cxn>
                <a:cxn ang="0">
                  <a:pos x="T8" y="T9"/>
                </a:cxn>
                <a:cxn ang="0">
                  <a:pos x="T10" y="T11"/>
                </a:cxn>
              </a:cxnLst>
              <a:rect l="0" t="0" r="r" b="b"/>
              <a:pathLst>
                <a:path w="1719" h="605">
                  <a:moveTo>
                    <a:pt x="0" y="605"/>
                  </a:moveTo>
                  <a:lnTo>
                    <a:pt x="224" y="0"/>
                  </a:lnTo>
                  <a:lnTo>
                    <a:pt x="1440" y="261"/>
                  </a:lnTo>
                  <a:lnTo>
                    <a:pt x="1440" y="218"/>
                  </a:lnTo>
                  <a:lnTo>
                    <a:pt x="1719" y="605"/>
                  </a:lnTo>
                  <a:lnTo>
                    <a:pt x="0" y="605"/>
                  </a:lnTo>
                  <a:close/>
                </a:path>
              </a:pathLst>
            </a:custGeom>
            <a:solidFill>
              <a:srgbClr val="FFFFFF">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1042526"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a:ln>
                  <a:noFill/>
                </a:ln>
                <a:solidFill>
                  <a:srgbClr val="404040"/>
                </a:solidFill>
                <a:effectLst/>
                <a:uLnTx/>
                <a:uFillTx/>
                <a:latin typeface="Tahoma"/>
              </a:endParaRPr>
            </a:p>
          </p:txBody>
        </p:sp>
        <p:sp>
          <p:nvSpPr>
            <p:cNvPr id="26" name="Freeform 23">
              <a:extLst>
                <a:ext uri="{FF2B5EF4-FFF2-40B4-BE49-F238E27FC236}">
                  <a16:creationId xmlns:a16="http://schemas.microsoft.com/office/drawing/2014/main" id="{395CA16C-696A-0848-BACE-A77AD335E08E}"/>
                </a:ext>
              </a:extLst>
            </p:cNvPr>
            <p:cNvSpPr>
              <a:spLocks/>
            </p:cNvSpPr>
            <p:nvPr/>
          </p:nvSpPr>
          <p:spPr bwMode="auto">
            <a:xfrm>
              <a:off x="1016657" y="4892896"/>
              <a:ext cx="1970453" cy="913928"/>
            </a:xfrm>
            <a:custGeom>
              <a:avLst/>
              <a:gdLst>
                <a:gd name="T0" fmla="*/ 1216 w 1216"/>
                <a:gd name="T1" fmla="*/ 564 h 564"/>
                <a:gd name="T2" fmla="*/ 0 w 1216"/>
                <a:gd name="T3" fmla="*/ 303 h 564"/>
                <a:gd name="T4" fmla="*/ 102 w 1216"/>
                <a:gd name="T5" fmla="*/ 0 h 564"/>
                <a:gd name="T6" fmla="*/ 1216 w 1216"/>
                <a:gd name="T7" fmla="*/ 260 h 564"/>
                <a:gd name="T8" fmla="*/ 1216 w 1216"/>
                <a:gd name="T9" fmla="*/ 564 h 564"/>
              </a:gdLst>
              <a:ahLst/>
              <a:cxnLst>
                <a:cxn ang="0">
                  <a:pos x="T0" y="T1"/>
                </a:cxn>
                <a:cxn ang="0">
                  <a:pos x="T2" y="T3"/>
                </a:cxn>
                <a:cxn ang="0">
                  <a:pos x="T4" y="T5"/>
                </a:cxn>
                <a:cxn ang="0">
                  <a:pos x="T6" y="T7"/>
                </a:cxn>
                <a:cxn ang="0">
                  <a:pos x="T8" y="T9"/>
                </a:cxn>
              </a:cxnLst>
              <a:rect l="0" t="0" r="r" b="b"/>
              <a:pathLst>
                <a:path w="1216" h="564">
                  <a:moveTo>
                    <a:pt x="1216" y="564"/>
                  </a:moveTo>
                  <a:lnTo>
                    <a:pt x="0" y="303"/>
                  </a:lnTo>
                  <a:lnTo>
                    <a:pt x="102" y="0"/>
                  </a:lnTo>
                  <a:lnTo>
                    <a:pt x="1216" y="260"/>
                  </a:lnTo>
                  <a:lnTo>
                    <a:pt x="1216" y="564"/>
                  </a:ln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1042526"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a:ln>
                  <a:noFill/>
                </a:ln>
                <a:solidFill>
                  <a:srgbClr val="404040"/>
                </a:solidFill>
                <a:effectLst/>
                <a:uLnTx/>
                <a:uFillTx/>
                <a:latin typeface="Tahoma"/>
              </a:endParaRPr>
            </a:p>
          </p:txBody>
        </p:sp>
        <p:sp>
          <p:nvSpPr>
            <p:cNvPr id="27" name="Freeform 97">
              <a:extLst>
                <a:ext uri="{FF2B5EF4-FFF2-40B4-BE49-F238E27FC236}">
                  <a16:creationId xmlns:a16="http://schemas.microsoft.com/office/drawing/2014/main" id="{0EC75761-A5AD-4649-9108-7B96CF7F35DF}"/>
                </a:ext>
              </a:extLst>
            </p:cNvPr>
            <p:cNvSpPr>
              <a:spLocks/>
            </p:cNvSpPr>
            <p:nvPr/>
          </p:nvSpPr>
          <p:spPr bwMode="auto">
            <a:xfrm>
              <a:off x="1635666" y="2407141"/>
              <a:ext cx="1751694" cy="1239636"/>
            </a:xfrm>
            <a:custGeom>
              <a:avLst/>
              <a:gdLst>
                <a:gd name="connsiteX0" fmla="*/ 875170 w 1367137"/>
                <a:gd name="connsiteY0" fmla="*/ 0 h 967493"/>
                <a:gd name="connsiteX1" fmla="*/ 940741 w 1367137"/>
                <a:gd name="connsiteY1" fmla="*/ 52782 h 967493"/>
                <a:gd name="connsiteX2" fmla="*/ 930541 w 1367137"/>
                <a:gd name="connsiteY2" fmla="*/ 95300 h 967493"/>
                <a:gd name="connsiteX3" fmla="*/ 908684 w 1367137"/>
                <a:gd name="connsiteY3" fmla="*/ 136352 h 967493"/>
                <a:gd name="connsiteX4" fmla="*/ 901398 w 1367137"/>
                <a:gd name="connsiteY4" fmla="*/ 162743 h 967493"/>
                <a:gd name="connsiteX5" fmla="*/ 901398 w 1367137"/>
                <a:gd name="connsiteY5" fmla="*/ 331350 h 967493"/>
                <a:gd name="connsiteX6" fmla="*/ 1054757 w 1367137"/>
                <a:gd name="connsiteY6" fmla="*/ 331350 h 967493"/>
                <a:gd name="connsiteX7" fmla="*/ 1054757 w 1367137"/>
                <a:gd name="connsiteY7" fmla="*/ 471137 h 967493"/>
                <a:gd name="connsiteX8" fmla="*/ 1074553 w 1367137"/>
                <a:gd name="connsiteY8" fmla="*/ 470966 h 967493"/>
                <a:gd name="connsiteX9" fmla="*/ 1202403 w 1367137"/>
                <a:gd name="connsiteY9" fmla="*/ 469855 h 967493"/>
                <a:gd name="connsiteX10" fmla="*/ 1231820 w 1367137"/>
                <a:gd name="connsiteY10" fmla="*/ 462512 h 967493"/>
                <a:gd name="connsiteX11" fmla="*/ 1270062 w 1367137"/>
                <a:gd name="connsiteY11" fmla="*/ 441950 h 967493"/>
                <a:gd name="connsiteX12" fmla="*/ 1308304 w 1367137"/>
                <a:gd name="connsiteY12" fmla="*/ 430201 h 967493"/>
                <a:gd name="connsiteX13" fmla="*/ 1367137 w 1367137"/>
                <a:gd name="connsiteY13" fmla="*/ 497760 h 967493"/>
                <a:gd name="connsiteX14" fmla="*/ 1312716 w 1367137"/>
                <a:gd name="connsiteY14" fmla="*/ 563851 h 967493"/>
                <a:gd name="connsiteX15" fmla="*/ 1270062 w 1367137"/>
                <a:gd name="connsiteY15" fmla="*/ 553571 h 967493"/>
                <a:gd name="connsiteX16" fmla="*/ 1228879 w 1367137"/>
                <a:gd name="connsiteY16" fmla="*/ 530072 h 967493"/>
                <a:gd name="connsiteX17" fmla="*/ 1228879 w 1367137"/>
                <a:gd name="connsiteY17" fmla="*/ 531540 h 967493"/>
                <a:gd name="connsiteX18" fmla="*/ 1202403 w 1367137"/>
                <a:gd name="connsiteY18" fmla="*/ 524197 h 967493"/>
                <a:gd name="connsiteX19" fmla="*/ 1089089 w 1367137"/>
                <a:gd name="connsiteY19" fmla="*/ 524197 h 967493"/>
                <a:gd name="connsiteX20" fmla="*/ 1054757 w 1367137"/>
                <a:gd name="connsiteY20" fmla="*/ 524197 h 967493"/>
                <a:gd name="connsiteX21" fmla="*/ 1054757 w 1367137"/>
                <a:gd name="connsiteY21" fmla="*/ 967493 h 967493"/>
                <a:gd name="connsiteX22" fmla="*/ 212712 w 1367137"/>
                <a:gd name="connsiteY22" fmla="*/ 967493 h 967493"/>
                <a:gd name="connsiteX23" fmla="*/ 212712 w 1367137"/>
                <a:gd name="connsiteY23" fmla="*/ 935172 h 967493"/>
                <a:gd name="connsiteX24" fmla="*/ 218580 w 1367137"/>
                <a:gd name="connsiteY24" fmla="*/ 913135 h 967493"/>
                <a:gd name="connsiteX25" fmla="*/ 236183 w 1367137"/>
                <a:gd name="connsiteY25" fmla="*/ 883751 h 967493"/>
                <a:gd name="connsiteX26" fmla="*/ 252320 w 1367137"/>
                <a:gd name="connsiteY26" fmla="*/ 829393 h 967493"/>
                <a:gd name="connsiteX27" fmla="*/ 154033 w 1367137"/>
                <a:gd name="connsiteY27" fmla="*/ 745651 h 967493"/>
                <a:gd name="connsiteX28" fmla="*/ 55745 w 1367137"/>
                <a:gd name="connsiteY28" fmla="*/ 823516 h 967493"/>
                <a:gd name="connsiteX29" fmla="*/ 55745 w 1367137"/>
                <a:gd name="connsiteY29" fmla="*/ 826455 h 967493"/>
                <a:gd name="connsiteX30" fmla="*/ 70415 w 1367137"/>
                <a:gd name="connsiteY30" fmla="*/ 883751 h 967493"/>
                <a:gd name="connsiteX31" fmla="*/ 89486 w 1367137"/>
                <a:gd name="connsiteY31" fmla="*/ 917542 h 967493"/>
                <a:gd name="connsiteX32" fmla="*/ 93886 w 1367137"/>
                <a:gd name="connsiteY32" fmla="*/ 935172 h 967493"/>
                <a:gd name="connsiteX33" fmla="*/ 93886 w 1367137"/>
                <a:gd name="connsiteY33" fmla="*/ 967493 h 967493"/>
                <a:gd name="connsiteX34" fmla="*/ 0 w 1367137"/>
                <a:gd name="connsiteY34" fmla="*/ 967493 h 967493"/>
                <a:gd name="connsiteX35" fmla="*/ 0 w 1367137"/>
                <a:gd name="connsiteY35" fmla="*/ 331350 h 967493"/>
                <a:gd name="connsiteX36" fmla="*/ 706605 w 1367137"/>
                <a:gd name="connsiteY36" fmla="*/ 331350 h 967493"/>
                <a:gd name="connsiteX37" fmla="*/ 848941 w 1367137"/>
                <a:gd name="connsiteY37" fmla="*/ 331350 h 967493"/>
                <a:gd name="connsiteX38" fmla="*/ 848941 w 1367137"/>
                <a:gd name="connsiteY38" fmla="*/ 162743 h 967493"/>
                <a:gd name="connsiteX39" fmla="*/ 841655 w 1367137"/>
                <a:gd name="connsiteY39" fmla="*/ 133420 h 967493"/>
                <a:gd name="connsiteX40" fmla="*/ 840198 w 1367137"/>
                <a:gd name="connsiteY40" fmla="*/ 133420 h 967493"/>
                <a:gd name="connsiteX41" fmla="*/ 819798 w 1367137"/>
                <a:gd name="connsiteY41" fmla="*/ 95300 h 967493"/>
                <a:gd name="connsiteX42" fmla="*/ 809598 w 1367137"/>
                <a:gd name="connsiteY42" fmla="*/ 57180 h 967493"/>
                <a:gd name="connsiteX43" fmla="*/ 875170 w 1367137"/>
                <a:gd name="connsiteY43" fmla="*/ 0 h 9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367137" h="967493">
                  <a:moveTo>
                    <a:pt x="875170" y="0"/>
                  </a:moveTo>
                  <a:cubicBezTo>
                    <a:pt x="910141" y="0"/>
                    <a:pt x="939284" y="23458"/>
                    <a:pt x="940741" y="52782"/>
                  </a:cubicBezTo>
                  <a:cubicBezTo>
                    <a:pt x="942198" y="68909"/>
                    <a:pt x="939284" y="83571"/>
                    <a:pt x="930541" y="95300"/>
                  </a:cubicBezTo>
                  <a:cubicBezTo>
                    <a:pt x="918884" y="111428"/>
                    <a:pt x="914513" y="120224"/>
                    <a:pt x="908684" y="136352"/>
                  </a:cubicBezTo>
                  <a:cubicBezTo>
                    <a:pt x="908684" y="136352"/>
                    <a:pt x="908684" y="136352"/>
                    <a:pt x="901398" y="162743"/>
                  </a:cubicBezTo>
                  <a:cubicBezTo>
                    <a:pt x="901398" y="162743"/>
                    <a:pt x="901398" y="162743"/>
                    <a:pt x="901398" y="331350"/>
                  </a:cubicBezTo>
                  <a:lnTo>
                    <a:pt x="1054757" y="331350"/>
                  </a:lnTo>
                  <a:lnTo>
                    <a:pt x="1054757" y="471137"/>
                  </a:lnTo>
                  <a:lnTo>
                    <a:pt x="1074553" y="470966"/>
                  </a:lnTo>
                  <a:cubicBezTo>
                    <a:pt x="1099330" y="470750"/>
                    <a:pt x="1138974" y="470406"/>
                    <a:pt x="1202403" y="469855"/>
                  </a:cubicBezTo>
                  <a:cubicBezTo>
                    <a:pt x="1202403" y="469855"/>
                    <a:pt x="1202403" y="469855"/>
                    <a:pt x="1231820" y="462512"/>
                  </a:cubicBezTo>
                  <a:cubicBezTo>
                    <a:pt x="1246529" y="456637"/>
                    <a:pt x="1255354" y="452231"/>
                    <a:pt x="1270062" y="441950"/>
                  </a:cubicBezTo>
                  <a:cubicBezTo>
                    <a:pt x="1281829" y="433138"/>
                    <a:pt x="1293595" y="428732"/>
                    <a:pt x="1308304" y="430201"/>
                  </a:cubicBezTo>
                  <a:cubicBezTo>
                    <a:pt x="1340662" y="430201"/>
                    <a:pt x="1367137" y="461043"/>
                    <a:pt x="1367137" y="497760"/>
                  </a:cubicBezTo>
                  <a:cubicBezTo>
                    <a:pt x="1367137" y="533009"/>
                    <a:pt x="1343604" y="560914"/>
                    <a:pt x="1312716" y="563851"/>
                  </a:cubicBezTo>
                  <a:cubicBezTo>
                    <a:pt x="1296537" y="565320"/>
                    <a:pt x="1283300" y="562383"/>
                    <a:pt x="1270062" y="553571"/>
                  </a:cubicBezTo>
                  <a:cubicBezTo>
                    <a:pt x="1253883" y="540352"/>
                    <a:pt x="1246529" y="535946"/>
                    <a:pt x="1228879" y="530072"/>
                  </a:cubicBezTo>
                  <a:cubicBezTo>
                    <a:pt x="1228879" y="530072"/>
                    <a:pt x="1228879" y="530072"/>
                    <a:pt x="1228879" y="531540"/>
                  </a:cubicBezTo>
                  <a:lnTo>
                    <a:pt x="1202403" y="524197"/>
                  </a:lnTo>
                  <a:cubicBezTo>
                    <a:pt x="1202403" y="524197"/>
                    <a:pt x="1202403" y="524197"/>
                    <a:pt x="1089089" y="524197"/>
                  </a:cubicBezTo>
                  <a:lnTo>
                    <a:pt x="1054757" y="524197"/>
                  </a:lnTo>
                  <a:lnTo>
                    <a:pt x="1054757" y="967493"/>
                  </a:lnTo>
                  <a:cubicBezTo>
                    <a:pt x="1054757" y="967493"/>
                    <a:pt x="1054757" y="967493"/>
                    <a:pt x="212712" y="967493"/>
                  </a:cubicBezTo>
                  <a:cubicBezTo>
                    <a:pt x="212712" y="967493"/>
                    <a:pt x="212712" y="967493"/>
                    <a:pt x="212712" y="935172"/>
                  </a:cubicBezTo>
                  <a:cubicBezTo>
                    <a:pt x="212712" y="935172"/>
                    <a:pt x="212712" y="935172"/>
                    <a:pt x="218580" y="913135"/>
                  </a:cubicBezTo>
                  <a:cubicBezTo>
                    <a:pt x="222980" y="901381"/>
                    <a:pt x="225914" y="895505"/>
                    <a:pt x="236183" y="883751"/>
                  </a:cubicBezTo>
                  <a:cubicBezTo>
                    <a:pt x="247919" y="867591"/>
                    <a:pt x="252320" y="849961"/>
                    <a:pt x="252320" y="829393"/>
                  </a:cubicBezTo>
                  <a:cubicBezTo>
                    <a:pt x="252320" y="783849"/>
                    <a:pt x="208311" y="745651"/>
                    <a:pt x="154033" y="745651"/>
                  </a:cubicBezTo>
                  <a:cubicBezTo>
                    <a:pt x="102688" y="745651"/>
                    <a:pt x="60146" y="779442"/>
                    <a:pt x="55745" y="823516"/>
                  </a:cubicBezTo>
                  <a:cubicBezTo>
                    <a:pt x="55745" y="824985"/>
                    <a:pt x="55745" y="824985"/>
                    <a:pt x="55745" y="826455"/>
                  </a:cubicBezTo>
                  <a:cubicBezTo>
                    <a:pt x="52811" y="847023"/>
                    <a:pt x="58679" y="866122"/>
                    <a:pt x="70415" y="883751"/>
                  </a:cubicBezTo>
                  <a:cubicBezTo>
                    <a:pt x="80684" y="896974"/>
                    <a:pt x="83618" y="902850"/>
                    <a:pt x="89486" y="917542"/>
                  </a:cubicBezTo>
                  <a:cubicBezTo>
                    <a:pt x="89486" y="917542"/>
                    <a:pt x="89486" y="917542"/>
                    <a:pt x="93886" y="935172"/>
                  </a:cubicBezTo>
                  <a:cubicBezTo>
                    <a:pt x="93886" y="935172"/>
                    <a:pt x="93886" y="935172"/>
                    <a:pt x="93886" y="967493"/>
                  </a:cubicBezTo>
                  <a:cubicBezTo>
                    <a:pt x="93886" y="967493"/>
                    <a:pt x="93886" y="967493"/>
                    <a:pt x="0" y="967493"/>
                  </a:cubicBezTo>
                  <a:cubicBezTo>
                    <a:pt x="0" y="967493"/>
                    <a:pt x="0" y="967493"/>
                    <a:pt x="0" y="331350"/>
                  </a:cubicBezTo>
                  <a:cubicBezTo>
                    <a:pt x="0" y="331350"/>
                    <a:pt x="0" y="331350"/>
                    <a:pt x="706605" y="331350"/>
                  </a:cubicBezTo>
                  <a:lnTo>
                    <a:pt x="848941" y="331350"/>
                  </a:lnTo>
                  <a:cubicBezTo>
                    <a:pt x="848941" y="331350"/>
                    <a:pt x="848941" y="331350"/>
                    <a:pt x="848941" y="162743"/>
                  </a:cubicBezTo>
                  <a:cubicBezTo>
                    <a:pt x="848941" y="162743"/>
                    <a:pt x="848941" y="162743"/>
                    <a:pt x="841655" y="133420"/>
                  </a:cubicBezTo>
                  <a:cubicBezTo>
                    <a:pt x="841655" y="133420"/>
                    <a:pt x="841655" y="133420"/>
                    <a:pt x="840198" y="133420"/>
                  </a:cubicBezTo>
                  <a:cubicBezTo>
                    <a:pt x="835827" y="118758"/>
                    <a:pt x="829998" y="109961"/>
                    <a:pt x="819798" y="95300"/>
                  </a:cubicBezTo>
                  <a:cubicBezTo>
                    <a:pt x="811056" y="83571"/>
                    <a:pt x="808141" y="71842"/>
                    <a:pt x="809598" y="57180"/>
                  </a:cubicBezTo>
                  <a:cubicBezTo>
                    <a:pt x="809598" y="24925"/>
                    <a:pt x="838741" y="0"/>
                    <a:pt x="875170" y="0"/>
                  </a:cubicBezTo>
                  <a:close/>
                </a:path>
              </a:pathLst>
            </a:custGeom>
            <a:solidFill>
              <a:srgbClr val="646464"/>
            </a:solidFill>
            <a:ln>
              <a:noFill/>
            </a:ln>
          </p:spPr>
          <p:txBody>
            <a:bodyPr vert="horz" wrap="square" lIns="91440" tIns="45720" rIns="91440" bIns="45720" numCol="1" anchor="t" anchorCtr="0" compatLnSpc="1">
              <a:prstTxWarp prst="textNoShape">
                <a:avLst/>
              </a:prstTxWarp>
              <a:noAutofit/>
            </a:bodyPr>
            <a:lstStyle/>
            <a:p>
              <a:pPr marL="0" marR="0" lvl="0" indent="0" defTabSz="1042526"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a:ln>
                  <a:noFill/>
                </a:ln>
                <a:solidFill>
                  <a:srgbClr val="404040"/>
                </a:solidFill>
                <a:effectLst/>
                <a:uLnTx/>
                <a:uFillTx/>
                <a:latin typeface="Tahoma"/>
              </a:endParaRPr>
            </a:p>
          </p:txBody>
        </p:sp>
        <p:sp>
          <p:nvSpPr>
            <p:cNvPr id="28" name="Freeform 99">
              <a:extLst>
                <a:ext uri="{FF2B5EF4-FFF2-40B4-BE49-F238E27FC236}">
                  <a16:creationId xmlns:a16="http://schemas.microsoft.com/office/drawing/2014/main" id="{D979DC71-34B2-E047-8F64-64806943451A}"/>
                </a:ext>
              </a:extLst>
            </p:cNvPr>
            <p:cNvSpPr>
              <a:spLocks/>
            </p:cNvSpPr>
            <p:nvPr/>
          </p:nvSpPr>
          <p:spPr bwMode="auto">
            <a:xfrm>
              <a:off x="883781" y="3395609"/>
              <a:ext cx="1335243" cy="1200745"/>
            </a:xfrm>
            <a:custGeom>
              <a:avLst/>
              <a:gdLst>
                <a:gd name="connsiteX0" fmla="*/ 740582 w 1042111"/>
                <a:gd name="connsiteY0" fmla="*/ 0 h 937140"/>
                <a:gd name="connsiteX1" fmla="*/ 806672 w 1042111"/>
                <a:gd name="connsiteY1" fmla="*/ 54289 h 937140"/>
                <a:gd name="connsiteX2" fmla="*/ 794923 w 1042111"/>
                <a:gd name="connsiteY2" fmla="*/ 96840 h 937140"/>
                <a:gd name="connsiteX3" fmla="*/ 772893 w 1042111"/>
                <a:gd name="connsiteY3" fmla="*/ 137923 h 937140"/>
                <a:gd name="connsiteX4" fmla="*/ 767018 w 1042111"/>
                <a:gd name="connsiteY4" fmla="*/ 162866 h 937140"/>
                <a:gd name="connsiteX5" fmla="*/ 767018 w 1042111"/>
                <a:gd name="connsiteY5" fmla="*/ 280821 h 937140"/>
                <a:gd name="connsiteX6" fmla="*/ 767018 w 1042111"/>
                <a:gd name="connsiteY6" fmla="*/ 302262 h 937140"/>
                <a:gd name="connsiteX7" fmla="*/ 833111 w 1042111"/>
                <a:gd name="connsiteY7" fmla="*/ 302262 h 937140"/>
                <a:gd name="connsiteX8" fmla="*/ 1042110 w 1042111"/>
                <a:gd name="connsiteY8" fmla="*/ 302262 h 937140"/>
                <a:gd name="connsiteX9" fmla="*/ 1042110 w 1042111"/>
                <a:gd name="connsiteY9" fmla="*/ 302263 h 937140"/>
                <a:gd name="connsiteX10" fmla="*/ 1042111 w 1042111"/>
                <a:gd name="connsiteY10" fmla="*/ 302262 h 937140"/>
                <a:gd name="connsiteX11" fmla="*/ 1042111 w 1042111"/>
                <a:gd name="connsiteY11" fmla="*/ 937140 h 937140"/>
                <a:gd name="connsiteX12" fmla="*/ 1042110 w 1042111"/>
                <a:gd name="connsiteY12" fmla="*/ 937140 h 937140"/>
                <a:gd name="connsiteX13" fmla="*/ 1040702 w 1042111"/>
                <a:gd name="connsiteY13" fmla="*/ 937140 h 937140"/>
                <a:gd name="connsiteX14" fmla="*/ 1040702 w 1042111"/>
                <a:gd name="connsiteY14" fmla="*/ 937140 h 937140"/>
                <a:gd name="connsiteX15" fmla="*/ 1030843 w 1042111"/>
                <a:gd name="connsiteY15" fmla="*/ 937140 h 937140"/>
                <a:gd name="connsiteX16" fmla="*/ 1030838 w 1042111"/>
                <a:gd name="connsiteY16" fmla="*/ 937140 h 937140"/>
                <a:gd name="connsiteX17" fmla="*/ 1004082 w 1042111"/>
                <a:gd name="connsiteY17" fmla="*/ 937140 h 937140"/>
                <a:gd name="connsiteX18" fmla="*/ 1004063 w 1042111"/>
                <a:gd name="connsiteY18" fmla="*/ 937140 h 937140"/>
                <a:gd name="connsiteX19" fmla="*/ 981723 w 1042111"/>
                <a:gd name="connsiteY19" fmla="*/ 937140 h 937140"/>
                <a:gd name="connsiteX20" fmla="*/ 981693 w 1042111"/>
                <a:gd name="connsiteY20" fmla="*/ 937140 h 937140"/>
                <a:gd name="connsiteX21" fmla="*/ 951970 w 1042111"/>
                <a:gd name="connsiteY21" fmla="*/ 937140 h 937140"/>
                <a:gd name="connsiteX22" fmla="*/ 951924 w 1042111"/>
                <a:gd name="connsiteY22" fmla="*/ 937140 h 937140"/>
                <a:gd name="connsiteX23" fmla="*/ 913766 w 1042111"/>
                <a:gd name="connsiteY23" fmla="*/ 937140 h 937140"/>
                <a:gd name="connsiteX24" fmla="*/ 913700 w 1042111"/>
                <a:gd name="connsiteY24" fmla="*/ 937140 h 937140"/>
                <a:gd name="connsiteX25" fmla="*/ 866055 w 1042111"/>
                <a:gd name="connsiteY25" fmla="*/ 937140 h 937140"/>
                <a:gd name="connsiteX26" fmla="*/ 865964 w 1042111"/>
                <a:gd name="connsiteY26" fmla="*/ 937140 h 937140"/>
                <a:gd name="connsiteX27" fmla="*/ 807781 w 1042111"/>
                <a:gd name="connsiteY27" fmla="*/ 937140 h 937140"/>
                <a:gd name="connsiteX28" fmla="*/ 807660 w 1042111"/>
                <a:gd name="connsiteY28" fmla="*/ 937140 h 937140"/>
                <a:gd name="connsiteX29" fmla="*/ 737887 w 1042111"/>
                <a:gd name="connsiteY29" fmla="*/ 937140 h 937140"/>
                <a:gd name="connsiteX30" fmla="*/ 737729 w 1042111"/>
                <a:gd name="connsiteY30" fmla="*/ 937140 h 937140"/>
                <a:gd name="connsiteX31" fmla="*/ 655316 w 1042111"/>
                <a:gd name="connsiteY31" fmla="*/ 937140 h 937140"/>
                <a:gd name="connsiteX32" fmla="*/ 655116 w 1042111"/>
                <a:gd name="connsiteY32" fmla="*/ 937140 h 937140"/>
                <a:gd name="connsiteX33" fmla="*/ 559014 w 1042111"/>
                <a:gd name="connsiteY33" fmla="*/ 937140 h 937140"/>
                <a:gd name="connsiteX34" fmla="*/ 558764 w 1042111"/>
                <a:gd name="connsiteY34" fmla="*/ 937140 h 937140"/>
                <a:gd name="connsiteX35" fmla="*/ 447923 w 1042111"/>
                <a:gd name="connsiteY35" fmla="*/ 937140 h 937140"/>
                <a:gd name="connsiteX36" fmla="*/ 447615 w 1042111"/>
                <a:gd name="connsiteY36" fmla="*/ 937140 h 937140"/>
                <a:gd name="connsiteX37" fmla="*/ 320987 w 1042111"/>
                <a:gd name="connsiteY37" fmla="*/ 937140 h 937140"/>
                <a:gd name="connsiteX38" fmla="*/ 320613 w 1042111"/>
                <a:gd name="connsiteY38" fmla="*/ 937140 h 937140"/>
                <a:gd name="connsiteX39" fmla="*/ 325012 w 1042111"/>
                <a:gd name="connsiteY39" fmla="*/ 831327 h 937140"/>
                <a:gd name="connsiteX40" fmla="*/ 323202 w 1042111"/>
                <a:gd name="connsiteY40" fmla="*/ 777915 h 937140"/>
                <a:gd name="connsiteX41" fmla="*/ 319975 w 1042111"/>
                <a:gd name="connsiteY41" fmla="*/ 753187 h 937140"/>
                <a:gd name="connsiteX42" fmla="*/ 314183 w 1042111"/>
                <a:gd name="connsiteY42" fmla="*/ 721555 h 937140"/>
                <a:gd name="connsiteX43" fmla="*/ 308725 w 1042111"/>
                <a:gd name="connsiteY43" fmla="*/ 703337 h 937140"/>
                <a:gd name="connsiteX44" fmla="*/ 290823 w 1042111"/>
                <a:gd name="connsiteY44" fmla="*/ 670540 h 937140"/>
                <a:gd name="connsiteX45" fmla="*/ 288351 w 1042111"/>
                <a:gd name="connsiteY45" fmla="*/ 666729 h 937140"/>
                <a:gd name="connsiteX46" fmla="*/ 288618 w 1042111"/>
                <a:gd name="connsiteY46" fmla="*/ 666600 h 937140"/>
                <a:gd name="connsiteX47" fmla="*/ 201785 w 1042111"/>
                <a:gd name="connsiteY47" fmla="*/ 576095 h 937140"/>
                <a:gd name="connsiteX48" fmla="*/ 0 w 1042111"/>
                <a:gd name="connsiteY48" fmla="*/ 302262 h 937140"/>
                <a:gd name="connsiteX49" fmla="*/ 290208 w 1042111"/>
                <a:gd name="connsiteY49" fmla="*/ 302262 h 937140"/>
                <a:gd name="connsiteX50" fmla="*/ 290208 w 1042111"/>
                <a:gd name="connsiteY50" fmla="*/ 325776 h 937140"/>
                <a:gd name="connsiteX51" fmla="*/ 284345 w 1042111"/>
                <a:gd name="connsiteY51" fmla="*/ 349290 h 937140"/>
                <a:gd name="connsiteX52" fmla="*/ 266757 w 1042111"/>
                <a:gd name="connsiteY52" fmla="*/ 378683 h 937140"/>
                <a:gd name="connsiteX53" fmla="*/ 250634 w 1042111"/>
                <a:gd name="connsiteY53" fmla="*/ 431589 h 937140"/>
                <a:gd name="connsiteX54" fmla="*/ 348836 w 1042111"/>
                <a:gd name="connsiteY54" fmla="*/ 516827 h 937140"/>
                <a:gd name="connsiteX55" fmla="*/ 447037 w 1042111"/>
                <a:gd name="connsiteY55" fmla="*/ 438937 h 937140"/>
                <a:gd name="connsiteX56" fmla="*/ 447037 w 1042111"/>
                <a:gd name="connsiteY56" fmla="*/ 437468 h 937140"/>
                <a:gd name="connsiteX57" fmla="*/ 447037 w 1042111"/>
                <a:gd name="connsiteY57" fmla="*/ 435998 h 937140"/>
                <a:gd name="connsiteX58" fmla="*/ 432380 w 1042111"/>
                <a:gd name="connsiteY58" fmla="*/ 378683 h 937140"/>
                <a:gd name="connsiteX59" fmla="*/ 413326 w 1042111"/>
                <a:gd name="connsiteY59" fmla="*/ 344881 h 937140"/>
                <a:gd name="connsiteX60" fmla="*/ 408929 w 1042111"/>
                <a:gd name="connsiteY60" fmla="*/ 325776 h 937140"/>
                <a:gd name="connsiteX61" fmla="*/ 408929 w 1042111"/>
                <a:gd name="connsiteY61" fmla="*/ 302262 h 937140"/>
                <a:gd name="connsiteX62" fmla="*/ 676053 w 1042111"/>
                <a:gd name="connsiteY62" fmla="*/ 302262 h 937140"/>
                <a:gd name="connsiteX63" fmla="*/ 712677 w 1042111"/>
                <a:gd name="connsiteY63" fmla="*/ 302262 h 937140"/>
                <a:gd name="connsiteX64" fmla="*/ 712677 w 1042111"/>
                <a:gd name="connsiteY64" fmla="*/ 295952 h 937140"/>
                <a:gd name="connsiteX65" fmla="*/ 712677 w 1042111"/>
                <a:gd name="connsiteY65" fmla="*/ 162866 h 937140"/>
                <a:gd name="connsiteX66" fmla="*/ 705334 w 1042111"/>
                <a:gd name="connsiteY66" fmla="*/ 134988 h 937140"/>
                <a:gd name="connsiteX67" fmla="*/ 683304 w 1042111"/>
                <a:gd name="connsiteY67" fmla="*/ 96840 h 937140"/>
                <a:gd name="connsiteX68" fmla="*/ 673023 w 1042111"/>
                <a:gd name="connsiteY68" fmla="*/ 57223 h 937140"/>
                <a:gd name="connsiteX69" fmla="*/ 740582 w 1042111"/>
                <a:gd name="connsiteY69" fmla="*/ 0 h 93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042111" h="937140">
                  <a:moveTo>
                    <a:pt x="740582" y="0"/>
                  </a:moveTo>
                  <a:cubicBezTo>
                    <a:pt x="775830" y="0"/>
                    <a:pt x="803735" y="23476"/>
                    <a:pt x="806672" y="54289"/>
                  </a:cubicBezTo>
                  <a:cubicBezTo>
                    <a:pt x="808141" y="70429"/>
                    <a:pt x="805204" y="83634"/>
                    <a:pt x="794923" y="96840"/>
                  </a:cubicBezTo>
                  <a:cubicBezTo>
                    <a:pt x="783174" y="111512"/>
                    <a:pt x="778768" y="120316"/>
                    <a:pt x="772893" y="137923"/>
                  </a:cubicBezTo>
                  <a:lnTo>
                    <a:pt x="767018" y="162866"/>
                  </a:lnTo>
                  <a:cubicBezTo>
                    <a:pt x="767018" y="162866"/>
                    <a:pt x="767018" y="162866"/>
                    <a:pt x="767018" y="280821"/>
                  </a:cubicBezTo>
                  <a:lnTo>
                    <a:pt x="767018" y="302262"/>
                  </a:lnTo>
                  <a:lnTo>
                    <a:pt x="833111" y="302262"/>
                  </a:lnTo>
                  <a:cubicBezTo>
                    <a:pt x="893708" y="302262"/>
                    <a:pt x="962963" y="302262"/>
                    <a:pt x="1042110" y="302262"/>
                  </a:cubicBezTo>
                  <a:lnTo>
                    <a:pt x="1042110" y="302263"/>
                  </a:lnTo>
                  <a:lnTo>
                    <a:pt x="1042111" y="302262"/>
                  </a:lnTo>
                  <a:cubicBezTo>
                    <a:pt x="1042111" y="302262"/>
                    <a:pt x="1042111" y="302262"/>
                    <a:pt x="1042111" y="937140"/>
                  </a:cubicBezTo>
                  <a:lnTo>
                    <a:pt x="1042110" y="937140"/>
                  </a:lnTo>
                  <a:lnTo>
                    <a:pt x="1040702" y="937140"/>
                  </a:lnTo>
                  <a:lnTo>
                    <a:pt x="1040702" y="937140"/>
                  </a:lnTo>
                  <a:lnTo>
                    <a:pt x="1030843" y="937140"/>
                  </a:lnTo>
                  <a:lnTo>
                    <a:pt x="1030838" y="937140"/>
                  </a:lnTo>
                  <a:lnTo>
                    <a:pt x="1004082" y="937140"/>
                  </a:lnTo>
                  <a:lnTo>
                    <a:pt x="1004063" y="937140"/>
                  </a:lnTo>
                  <a:lnTo>
                    <a:pt x="981723" y="937140"/>
                  </a:lnTo>
                  <a:lnTo>
                    <a:pt x="981693" y="937140"/>
                  </a:lnTo>
                  <a:lnTo>
                    <a:pt x="951970" y="937140"/>
                  </a:lnTo>
                  <a:lnTo>
                    <a:pt x="951924" y="937140"/>
                  </a:lnTo>
                  <a:lnTo>
                    <a:pt x="913766" y="937140"/>
                  </a:lnTo>
                  <a:lnTo>
                    <a:pt x="913700" y="937140"/>
                  </a:lnTo>
                  <a:lnTo>
                    <a:pt x="866055" y="937140"/>
                  </a:lnTo>
                  <a:lnTo>
                    <a:pt x="865964" y="937140"/>
                  </a:lnTo>
                  <a:lnTo>
                    <a:pt x="807781" y="937140"/>
                  </a:lnTo>
                  <a:lnTo>
                    <a:pt x="807660" y="937140"/>
                  </a:lnTo>
                  <a:lnTo>
                    <a:pt x="737887" y="937140"/>
                  </a:lnTo>
                  <a:lnTo>
                    <a:pt x="737729" y="937140"/>
                  </a:lnTo>
                  <a:lnTo>
                    <a:pt x="655316" y="937140"/>
                  </a:lnTo>
                  <a:lnTo>
                    <a:pt x="655116" y="937140"/>
                  </a:lnTo>
                  <a:lnTo>
                    <a:pt x="559014" y="937140"/>
                  </a:lnTo>
                  <a:lnTo>
                    <a:pt x="558764" y="937140"/>
                  </a:lnTo>
                  <a:lnTo>
                    <a:pt x="447923" y="937140"/>
                  </a:lnTo>
                  <a:lnTo>
                    <a:pt x="447615" y="937140"/>
                  </a:lnTo>
                  <a:lnTo>
                    <a:pt x="320987" y="937140"/>
                  </a:lnTo>
                  <a:lnTo>
                    <a:pt x="320613" y="937140"/>
                  </a:lnTo>
                  <a:cubicBezTo>
                    <a:pt x="323546" y="900400"/>
                    <a:pt x="325012" y="865129"/>
                    <a:pt x="325012" y="831327"/>
                  </a:cubicBezTo>
                  <a:cubicBezTo>
                    <a:pt x="325012" y="812589"/>
                    <a:pt x="324462" y="794678"/>
                    <a:pt x="323202" y="777915"/>
                  </a:cubicBezTo>
                  <a:lnTo>
                    <a:pt x="319975" y="753187"/>
                  </a:lnTo>
                  <a:lnTo>
                    <a:pt x="314183" y="721555"/>
                  </a:lnTo>
                  <a:lnTo>
                    <a:pt x="308725" y="703337"/>
                  </a:lnTo>
                  <a:lnTo>
                    <a:pt x="290823" y="670540"/>
                  </a:lnTo>
                  <a:lnTo>
                    <a:pt x="288351" y="666729"/>
                  </a:lnTo>
                  <a:lnTo>
                    <a:pt x="288618" y="666600"/>
                  </a:lnTo>
                  <a:lnTo>
                    <a:pt x="201785" y="576095"/>
                  </a:lnTo>
                  <a:cubicBezTo>
                    <a:pt x="120095" y="485230"/>
                    <a:pt x="53864" y="393746"/>
                    <a:pt x="0" y="302262"/>
                  </a:cubicBezTo>
                  <a:cubicBezTo>
                    <a:pt x="0" y="302262"/>
                    <a:pt x="0" y="302262"/>
                    <a:pt x="290208" y="302262"/>
                  </a:cubicBezTo>
                  <a:cubicBezTo>
                    <a:pt x="290208" y="302262"/>
                    <a:pt x="290208" y="302262"/>
                    <a:pt x="290208" y="325776"/>
                  </a:cubicBezTo>
                  <a:cubicBezTo>
                    <a:pt x="290208" y="325776"/>
                    <a:pt x="290208" y="325776"/>
                    <a:pt x="284345" y="349290"/>
                  </a:cubicBezTo>
                  <a:cubicBezTo>
                    <a:pt x="279948" y="359578"/>
                    <a:pt x="277016" y="366926"/>
                    <a:pt x="266757" y="378683"/>
                  </a:cubicBezTo>
                  <a:cubicBezTo>
                    <a:pt x="255031" y="394849"/>
                    <a:pt x="250634" y="412484"/>
                    <a:pt x="250634" y="431589"/>
                  </a:cubicBezTo>
                  <a:cubicBezTo>
                    <a:pt x="250634" y="478617"/>
                    <a:pt x="294605" y="516827"/>
                    <a:pt x="348836" y="516827"/>
                  </a:cubicBezTo>
                  <a:cubicBezTo>
                    <a:pt x="401601" y="516827"/>
                    <a:pt x="442640" y="483026"/>
                    <a:pt x="447037" y="438937"/>
                  </a:cubicBezTo>
                  <a:cubicBezTo>
                    <a:pt x="447037" y="438937"/>
                    <a:pt x="447037" y="438937"/>
                    <a:pt x="447037" y="437468"/>
                  </a:cubicBezTo>
                  <a:cubicBezTo>
                    <a:pt x="447037" y="437468"/>
                    <a:pt x="447037" y="437468"/>
                    <a:pt x="447037" y="435998"/>
                  </a:cubicBezTo>
                  <a:cubicBezTo>
                    <a:pt x="449969" y="413954"/>
                    <a:pt x="444106" y="396318"/>
                    <a:pt x="432380" y="378683"/>
                  </a:cubicBezTo>
                  <a:cubicBezTo>
                    <a:pt x="422120" y="365456"/>
                    <a:pt x="419189" y="359578"/>
                    <a:pt x="413326" y="344881"/>
                  </a:cubicBezTo>
                  <a:cubicBezTo>
                    <a:pt x="413326" y="344881"/>
                    <a:pt x="413326" y="344881"/>
                    <a:pt x="408929" y="325776"/>
                  </a:cubicBezTo>
                  <a:cubicBezTo>
                    <a:pt x="408929" y="325776"/>
                    <a:pt x="408929" y="325776"/>
                    <a:pt x="408929" y="302262"/>
                  </a:cubicBezTo>
                  <a:cubicBezTo>
                    <a:pt x="408929" y="302262"/>
                    <a:pt x="408929" y="302262"/>
                    <a:pt x="676053" y="302262"/>
                  </a:cubicBezTo>
                  <a:lnTo>
                    <a:pt x="712677" y="302262"/>
                  </a:lnTo>
                  <a:lnTo>
                    <a:pt x="712677" y="295952"/>
                  </a:lnTo>
                  <a:cubicBezTo>
                    <a:pt x="712677" y="270160"/>
                    <a:pt x="712677" y="228893"/>
                    <a:pt x="712677" y="162866"/>
                  </a:cubicBezTo>
                  <a:cubicBezTo>
                    <a:pt x="712677" y="162866"/>
                    <a:pt x="712677" y="162866"/>
                    <a:pt x="705334" y="134988"/>
                  </a:cubicBezTo>
                  <a:cubicBezTo>
                    <a:pt x="699459" y="120316"/>
                    <a:pt x="695053" y="111512"/>
                    <a:pt x="683304" y="96840"/>
                  </a:cubicBezTo>
                  <a:cubicBezTo>
                    <a:pt x="675960" y="85101"/>
                    <a:pt x="671554" y="71896"/>
                    <a:pt x="673023" y="57223"/>
                  </a:cubicBezTo>
                  <a:cubicBezTo>
                    <a:pt x="673023" y="26411"/>
                    <a:pt x="703865" y="0"/>
                    <a:pt x="740582" y="0"/>
                  </a:cubicBezTo>
                  <a:close/>
                </a:path>
              </a:pathLst>
            </a:custGeom>
            <a:solidFill>
              <a:srgbClr val="646464"/>
            </a:solidFill>
            <a:ln>
              <a:noFill/>
            </a:ln>
          </p:spPr>
          <p:txBody>
            <a:bodyPr vert="horz" wrap="square" lIns="91440" tIns="45720" rIns="91440" bIns="45720" numCol="1" anchor="t" anchorCtr="0" compatLnSpc="1">
              <a:prstTxWarp prst="textNoShape">
                <a:avLst/>
              </a:prstTxWarp>
              <a:noAutofit/>
            </a:bodyPr>
            <a:lstStyle/>
            <a:p>
              <a:pPr marL="0" marR="0" lvl="0" indent="0" defTabSz="1042526"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a:ln>
                  <a:noFill/>
                </a:ln>
                <a:solidFill>
                  <a:srgbClr val="404040"/>
                </a:solidFill>
                <a:effectLst/>
                <a:uLnTx/>
                <a:uFillTx/>
                <a:latin typeface="Tahoma"/>
              </a:endParaRPr>
            </a:p>
          </p:txBody>
        </p:sp>
        <p:sp>
          <p:nvSpPr>
            <p:cNvPr id="29" name="Freeform 96">
              <a:extLst>
                <a:ext uri="{FF2B5EF4-FFF2-40B4-BE49-F238E27FC236}">
                  <a16:creationId xmlns:a16="http://schemas.microsoft.com/office/drawing/2014/main" id="{E41A182F-B2A8-BF4F-8FCD-DEC2261BAE74}"/>
                </a:ext>
              </a:extLst>
            </p:cNvPr>
            <p:cNvSpPr>
              <a:spLocks/>
            </p:cNvSpPr>
            <p:nvPr/>
          </p:nvSpPr>
          <p:spPr bwMode="auto">
            <a:xfrm>
              <a:off x="3123228" y="2463857"/>
              <a:ext cx="1176439" cy="1182921"/>
            </a:xfrm>
            <a:custGeom>
              <a:avLst/>
              <a:gdLst>
                <a:gd name="connsiteX0" fmla="*/ 155558 w 918170"/>
                <a:gd name="connsiteY0" fmla="*/ 0 h 923229"/>
                <a:gd name="connsiteX1" fmla="*/ 221129 w 918170"/>
                <a:gd name="connsiteY1" fmla="*/ 52846 h 923229"/>
                <a:gd name="connsiteX2" fmla="*/ 210929 w 918170"/>
                <a:gd name="connsiteY2" fmla="*/ 95417 h 923229"/>
                <a:gd name="connsiteX3" fmla="*/ 187615 w 918170"/>
                <a:gd name="connsiteY3" fmla="*/ 136520 h 923229"/>
                <a:gd name="connsiteX4" fmla="*/ 189072 w 918170"/>
                <a:gd name="connsiteY4" fmla="*/ 136520 h 923229"/>
                <a:gd name="connsiteX5" fmla="*/ 181786 w 918170"/>
                <a:gd name="connsiteY5" fmla="*/ 162943 h 923229"/>
                <a:gd name="connsiteX6" fmla="*/ 181786 w 918170"/>
                <a:gd name="connsiteY6" fmla="*/ 274068 h 923229"/>
                <a:gd name="connsiteX7" fmla="*/ 181786 w 918170"/>
                <a:gd name="connsiteY7" fmla="*/ 287086 h 923229"/>
                <a:gd name="connsiteX8" fmla="*/ 229728 w 918170"/>
                <a:gd name="connsiteY8" fmla="*/ 287086 h 923229"/>
                <a:gd name="connsiteX9" fmla="*/ 706962 w 918170"/>
                <a:gd name="connsiteY9" fmla="*/ 287086 h 923229"/>
                <a:gd name="connsiteX10" fmla="*/ 684961 w 918170"/>
                <a:gd name="connsiteY10" fmla="*/ 391396 h 923229"/>
                <a:gd name="connsiteX11" fmla="*/ 918170 w 918170"/>
                <a:gd name="connsiteY11" fmla="*/ 923229 h 923229"/>
                <a:gd name="connsiteX12" fmla="*/ 573490 w 918170"/>
                <a:gd name="connsiteY12" fmla="*/ 923229 h 923229"/>
                <a:gd name="connsiteX13" fmla="*/ 573490 w 918170"/>
                <a:gd name="connsiteY13" fmla="*/ 879155 h 923229"/>
                <a:gd name="connsiteX14" fmla="*/ 579357 w 918170"/>
                <a:gd name="connsiteY14" fmla="*/ 857117 h 923229"/>
                <a:gd name="connsiteX15" fmla="*/ 596957 w 918170"/>
                <a:gd name="connsiteY15" fmla="*/ 826265 h 923229"/>
                <a:gd name="connsiteX16" fmla="*/ 613091 w 918170"/>
                <a:gd name="connsiteY16" fmla="*/ 773376 h 923229"/>
                <a:gd name="connsiteX17" fmla="*/ 514821 w 918170"/>
                <a:gd name="connsiteY17" fmla="*/ 688165 h 923229"/>
                <a:gd name="connsiteX18" fmla="*/ 416550 w 918170"/>
                <a:gd name="connsiteY18" fmla="*/ 766030 h 923229"/>
                <a:gd name="connsiteX19" fmla="*/ 416550 w 918170"/>
                <a:gd name="connsiteY19" fmla="*/ 767499 h 923229"/>
                <a:gd name="connsiteX20" fmla="*/ 416550 w 918170"/>
                <a:gd name="connsiteY20" fmla="*/ 768968 h 923229"/>
                <a:gd name="connsiteX21" fmla="*/ 431217 w 918170"/>
                <a:gd name="connsiteY21" fmla="*/ 826265 h 923229"/>
                <a:gd name="connsiteX22" fmla="*/ 450285 w 918170"/>
                <a:gd name="connsiteY22" fmla="*/ 860056 h 923229"/>
                <a:gd name="connsiteX23" fmla="*/ 454685 w 918170"/>
                <a:gd name="connsiteY23" fmla="*/ 879155 h 923229"/>
                <a:gd name="connsiteX24" fmla="*/ 454685 w 918170"/>
                <a:gd name="connsiteY24" fmla="*/ 923229 h 923229"/>
                <a:gd name="connsiteX25" fmla="*/ 0 w 918170"/>
                <a:gd name="connsiteY25" fmla="*/ 923229 h 923229"/>
                <a:gd name="connsiteX26" fmla="*/ 0 w 918170"/>
                <a:gd name="connsiteY26" fmla="*/ 511866 h 923229"/>
                <a:gd name="connsiteX27" fmla="*/ 41068 w 918170"/>
                <a:gd name="connsiteY27" fmla="*/ 511866 h 923229"/>
                <a:gd name="connsiteX28" fmla="*/ 64536 w 918170"/>
                <a:gd name="connsiteY28" fmla="*/ 517743 h 923229"/>
                <a:gd name="connsiteX29" fmla="*/ 93871 w 918170"/>
                <a:gd name="connsiteY29" fmla="*/ 535373 h 923229"/>
                <a:gd name="connsiteX30" fmla="*/ 146673 w 918170"/>
                <a:gd name="connsiteY30" fmla="*/ 551534 h 923229"/>
                <a:gd name="connsiteX31" fmla="*/ 231743 w 918170"/>
                <a:gd name="connsiteY31" fmla="*/ 453100 h 923229"/>
                <a:gd name="connsiteX32" fmla="*/ 154006 w 918170"/>
                <a:gd name="connsiteY32" fmla="*/ 354667 h 923229"/>
                <a:gd name="connsiteX33" fmla="*/ 151073 w 918170"/>
                <a:gd name="connsiteY33" fmla="*/ 354667 h 923229"/>
                <a:gd name="connsiteX34" fmla="*/ 93871 w 918170"/>
                <a:gd name="connsiteY34" fmla="*/ 369359 h 923229"/>
                <a:gd name="connsiteX35" fmla="*/ 60135 w 918170"/>
                <a:gd name="connsiteY35" fmla="*/ 388458 h 923229"/>
                <a:gd name="connsiteX36" fmla="*/ 41068 w 918170"/>
                <a:gd name="connsiteY36" fmla="*/ 392865 h 923229"/>
                <a:gd name="connsiteX37" fmla="*/ 0 w 918170"/>
                <a:gd name="connsiteY37" fmla="*/ 392865 h 923229"/>
                <a:gd name="connsiteX38" fmla="*/ 0 w 918170"/>
                <a:gd name="connsiteY38" fmla="*/ 287086 h 923229"/>
                <a:gd name="connsiteX39" fmla="*/ 125824 w 918170"/>
                <a:gd name="connsiteY39" fmla="*/ 287086 h 923229"/>
                <a:gd name="connsiteX40" fmla="*/ 128963 w 918170"/>
                <a:gd name="connsiteY40" fmla="*/ 287086 h 923229"/>
                <a:gd name="connsiteX41" fmla="*/ 128715 w 918170"/>
                <a:gd name="connsiteY41" fmla="*/ 258841 h 923229"/>
                <a:gd name="connsiteX42" fmla="*/ 127872 w 918170"/>
                <a:gd name="connsiteY42" fmla="*/ 162943 h 923229"/>
                <a:gd name="connsiteX43" fmla="*/ 120586 w 918170"/>
                <a:gd name="connsiteY43" fmla="*/ 133584 h 923229"/>
                <a:gd name="connsiteX44" fmla="*/ 100186 w 918170"/>
                <a:gd name="connsiteY44" fmla="*/ 95417 h 923229"/>
                <a:gd name="connsiteX45" fmla="*/ 88529 w 918170"/>
                <a:gd name="connsiteY45" fmla="*/ 57250 h 923229"/>
                <a:gd name="connsiteX46" fmla="*/ 155558 w 918170"/>
                <a:gd name="connsiteY46" fmla="*/ 0 h 92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918170" h="923229">
                  <a:moveTo>
                    <a:pt x="155558" y="0"/>
                  </a:moveTo>
                  <a:cubicBezTo>
                    <a:pt x="190529" y="0"/>
                    <a:pt x="218215" y="23487"/>
                    <a:pt x="221129" y="52846"/>
                  </a:cubicBezTo>
                  <a:cubicBezTo>
                    <a:pt x="222586" y="70462"/>
                    <a:pt x="219672" y="83673"/>
                    <a:pt x="210929" y="95417"/>
                  </a:cubicBezTo>
                  <a:cubicBezTo>
                    <a:pt x="199272" y="111564"/>
                    <a:pt x="193443" y="120372"/>
                    <a:pt x="187615" y="136520"/>
                  </a:cubicBezTo>
                  <a:cubicBezTo>
                    <a:pt x="187615" y="136520"/>
                    <a:pt x="187615" y="136520"/>
                    <a:pt x="189072" y="136520"/>
                  </a:cubicBezTo>
                  <a:lnTo>
                    <a:pt x="181786" y="162943"/>
                  </a:lnTo>
                  <a:cubicBezTo>
                    <a:pt x="181786" y="162943"/>
                    <a:pt x="181786" y="162943"/>
                    <a:pt x="181786" y="274068"/>
                  </a:cubicBezTo>
                  <a:lnTo>
                    <a:pt x="181786" y="287086"/>
                  </a:lnTo>
                  <a:lnTo>
                    <a:pt x="229728" y="287086"/>
                  </a:lnTo>
                  <a:cubicBezTo>
                    <a:pt x="334150" y="287086"/>
                    <a:pt x="486036" y="287086"/>
                    <a:pt x="706962" y="287086"/>
                  </a:cubicBezTo>
                  <a:cubicBezTo>
                    <a:pt x="696695" y="353198"/>
                    <a:pt x="683494" y="364951"/>
                    <a:pt x="684961" y="391396"/>
                  </a:cubicBezTo>
                  <a:cubicBezTo>
                    <a:pt x="692295" y="536842"/>
                    <a:pt x="918170" y="923229"/>
                    <a:pt x="918170" y="923229"/>
                  </a:cubicBezTo>
                  <a:cubicBezTo>
                    <a:pt x="918170" y="923229"/>
                    <a:pt x="918170" y="923229"/>
                    <a:pt x="573490" y="923229"/>
                  </a:cubicBezTo>
                  <a:cubicBezTo>
                    <a:pt x="573490" y="923229"/>
                    <a:pt x="573490" y="923229"/>
                    <a:pt x="573490" y="879155"/>
                  </a:cubicBezTo>
                  <a:cubicBezTo>
                    <a:pt x="573490" y="879155"/>
                    <a:pt x="573490" y="879155"/>
                    <a:pt x="579357" y="857117"/>
                  </a:cubicBezTo>
                  <a:cubicBezTo>
                    <a:pt x="583757" y="845364"/>
                    <a:pt x="586690" y="839487"/>
                    <a:pt x="596957" y="826265"/>
                  </a:cubicBezTo>
                  <a:cubicBezTo>
                    <a:pt x="608691" y="810104"/>
                    <a:pt x="613091" y="792475"/>
                    <a:pt x="613091" y="773376"/>
                  </a:cubicBezTo>
                  <a:cubicBezTo>
                    <a:pt x="613091" y="726363"/>
                    <a:pt x="569090" y="688165"/>
                    <a:pt x="514821" y="688165"/>
                  </a:cubicBezTo>
                  <a:cubicBezTo>
                    <a:pt x="462019" y="688165"/>
                    <a:pt x="420950" y="721955"/>
                    <a:pt x="416550" y="766030"/>
                  </a:cubicBezTo>
                  <a:cubicBezTo>
                    <a:pt x="416550" y="766030"/>
                    <a:pt x="416550" y="766030"/>
                    <a:pt x="416550" y="767499"/>
                  </a:cubicBezTo>
                  <a:cubicBezTo>
                    <a:pt x="416550" y="767499"/>
                    <a:pt x="416550" y="768968"/>
                    <a:pt x="416550" y="768968"/>
                  </a:cubicBezTo>
                  <a:cubicBezTo>
                    <a:pt x="413617" y="791005"/>
                    <a:pt x="419484" y="808635"/>
                    <a:pt x="431217" y="826265"/>
                  </a:cubicBezTo>
                  <a:cubicBezTo>
                    <a:pt x="441485" y="839487"/>
                    <a:pt x="444418" y="846833"/>
                    <a:pt x="450285" y="860056"/>
                  </a:cubicBezTo>
                  <a:lnTo>
                    <a:pt x="454685" y="879155"/>
                  </a:lnTo>
                  <a:cubicBezTo>
                    <a:pt x="454685" y="879155"/>
                    <a:pt x="454685" y="879155"/>
                    <a:pt x="454685" y="923229"/>
                  </a:cubicBezTo>
                  <a:cubicBezTo>
                    <a:pt x="454685" y="923229"/>
                    <a:pt x="454685" y="923229"/>
                    <a:pt x="0" y="923229"/>
                  </a:cubicBezTo>
                  <a:cubicBezTo>
                    <a:pt x="0" y="923229"/>
                    <a:pt x="0" y="923229"/>
                    <a:pt x="0" y="511866"/>
                  </a:cubicBezTo>
                  <a:cubicBezTo>
                    <a:pt x="0" y="511866"/>
                    <a:pt x="0" y="511866"/>
                    <a:pt x="41068" y="511866"/>
                  </a:cubicBezTo>
                  <a:cubicBezTo>
                    <a:pt x="41068" y="511866"/>
                    <a:pt x="41068" y="511866"/>
                    <a:pt x="64536" y="517743"/>
                  </a:cubicBezTo>
                  <a:cubicBezTo>
                    <a:pt x="76269" y="522151"/>
                    <a:pt x="82136" y="526558"/>
                    <a:pt x="93871" y="535373"/>
                  </a:cubicBezTo>
                  <a:cubicBezTo>
                    <a:pt x="110005" y="547126"/>
                    <a:pt x="127605" y="551534"/>
                    <a:pt x="146673" y="551534"/>
                  </a:cubicBezTo>
                  <a:cubicBezTo>
                    <a:pt x="193608" y="551534"/>
                    <a:pt x="231743" y="507459"/>
                    <a:pt x="231743" y="453100"/>
                  </a:cubicBezTo>
                  <a:cubicBezTo>
                    <a:pt x="231743" y="401680"/>
                    <a:pt x="198008" y="359075"/>
                    <a:pt x="154006" y="354667"/>
                  </a:cubicBezTo>
                  <a:cubicBezTo>
                    <a:pt x="152540" y="354667"/>
                    <a:pt x="152540" y="354667"/>
                    <a:pt x="151073" y="354667"/>
                  </a:cubicBezTo>
                  <a:cubicBezTo>
                    <a:pt x="130539" y="351729"/>
                    <a:pt x="111471" y="357605"/>
                    <a:pt x="93871" y="369359"/>
                  </a:cubicBezTo>
                  <a:cubicBezTo>
                    <a:pt x="80670" y="379643"/>
                    <a:pt x="74803" y="382581"/>
                    <a:pt x="60135" y="388458"/>
                  </a:cubicBezTo>
                  <a:cubicBezTo>
                    <a:pt x="60135" y="388458"/>
                    <a:pt x="60135" y="388458"/>
                    <a:pt x="41068" y="392865"/>
                  </a:cubicBezTo>
                  <a:cubicBezTo>
                    <a:pt x="41068" y="392865"/>
                    <a:pt x="41068" y="392865"/>
                    <a:pt x="0" y="392865"/>
                  </a:cubicBezTo>
                  <a:cubicBezTo>
                    <a:pt x="0" y="392865"/>
                    <a:pt x="0" y="392865"/>
                    <a:pt x="0" y="287086"/>
                  </a:cubicBezTo>
                  <a:cubicBezTo>
                    <a:pt x="0" y="287086"/>
                    <a:pt x="0" y="287086"/>
                    <a:pt x="125824" y="287086"/>
                  </a:cubicBezTo>
                  <a:lnTo>
                    <a:pt x="128963" y="287086"/>
                  </a:lnTo>
                  <a:lnTo>
                    <a:pt x="128715" y="258841"/>
                  </a:lnTo>
                  <a:cubicBezTo>
                    <a:pt x="128510" y="235514"/>
                    <a:pt x="128237" y="204412"/>
                    <a:pt x="127872" y="162943"/>
                  </a:cubicBezTo>
                  <a:cubicBezTo>
                    <a:pt x="127872" y="162943"/>
                    <a:pt x="127872" y="162943"/>
                    <a:pt x="120586" y="133584"/>
                  </a:cubicBezTo>
                  <a:cubicBezTo>
                    <a:pt x="114758" y="118904"/>
                    <a:pt x="110386" y="110096"/>
                    <a:pt x="100186" y="95417"/>
                  </a:cubicBezTo>
                  <a:cubicBezTo>
                    <a:pt x="91444" y="83673"/>
                    <a:pt x="88529" y="71930"/>
                    <a:pt x="88529" y="57250"/>
                  </a:cubicBezTo>
                  <a:cubicBezTo>
                    <a:pt x="88529" y="24955"/>
                    <a:pt x="119129" y="0"/>
                    <a:pt x="155558" y="0"/>
                  </a:cubicBezTo>
                  <a:close/>
                </a:path>
              </a:pathLst>
            </a:custGeom>
            <a:solidFill>
              <a:srgbClr val="595959"/>
            </a:solidFill>
            <a:ln>
              <a:noFill/>
            </a:ln>
          </p:spPr>
          <p:txBody>
            <a:bodyPr vert="horz" wrap="square" lIns="91440" tIns="45720" rIns="91440" bIns="45720" numCol="1" anchor="t" anchorCtr="0" compatLnSpc="1">
              <a:prstTxWarp prst="textNoShape">
                <a:avLst/>
              </a:prstTxWarp>
              <a:noAutofit/>
            </a:bodyPr>
            <a:lstStyle/>
            <a:p>
              <a:pPr marL="0" marR="0" lvl="0" indent="0" defTabSz="1042526"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a:ln>
                  <a:noFill/>
                </a:ln>
                <a:solidFill>
                  <a:srgbClr val="404040"/>
                </a:solidFill>
                <a:effectLst/>
                <a:uLnTx/>
                <a:uFillTx/>
                <a:latin typeface="Tahoma"/>
              </a:endParaRPr>
            </a:p>
          </p:txBody>
        </p:sp>
        <p:sp>
          <p:nvSpPr>
            <p:cNvPr id="30" name="Freeform 100">
              <a:extLst>
                <a:ext uri="{FF2B5EF4-FFF2-40B4-BE49-F238E27FC236}">
                  <a16:creationId xmlns:a16="http://schemas.microsoft.com/office/drawing/2014/main" id="{C976F33A-A6F5-1040-94DB-B425BB10316B}"/>
                </a:ext>
              </a:extLst>
            </p:cNvPr>
            <p:cNvSpPr>
              <a:spLocks/>
            </p:cNvSpPr>
            <p:nvPr/>
          </p:nvSpPr>
          <p:spPr bwMode="auto">
            <a:xfrm>
              <a:off x="2356763" y="3381025"/>
              <a:ext cx="1975315" cy="1605856"/>
            </a:xfrm>
            <a:custGeom>
              <a:avLst/>
              <a:gdLst>
                <a:gd name="connsiteX0" fmla="*/ 1113667 w 1541665"/>
                <a:gd name="connsiteY0" fmla="*/ 0 h 1253315"/>
                <a:gd name="connsiteX1" fmla="*/ 1179758 w 1541665"/>
                <a:gd name="connsiteY1" fmla="*/ 52768 h 1253315"/>
                <a:gd name="connsiteX2" fmla="*/ 1168008 w 1541665"/>
                <a:gd name="connsiteY2" fmla="*/ 95275 h 1253315"/>
                <a:gd name="connsiteX3" fmla="*/ 1145978 w 1541665"/>
                <a:gd name="connsiteY3" fmla="*/ 136317 h 1253315"/>
                <a:gd name="connsiteX4" fmla="*/ 1140103 w 1541665"/>
                <a:gd name="connsiteY4" fmla="*/ 162701 h 1253315"/>
                <a:gd name="connsiteX5" fmla="*/ 1139119 w 1541665"/>
                <a:gd name="connsiteY5" fmla="*/ 288392 h 1253315"/>
                <a:gd name="connsiteX6" fmla="*/ 1138922 w 1541665"/>
                <a:gd name="connsiteY6" fmla="*/ 313644 h 1253315"/>
                <a:gd name="connsiteX7" fmla="*/ 1147451 w 1541665"/>
                <a:gd name="connsiteY7" fmla="*/ 313644 h 1253315"/>
                <a:gd name="connsiteX8" fmla="*/ 1541665 w 1541665"/>
                <a:gd name="connsiteY8" fmla="*/ 313644 h 1253315"/>
                <a:gd name="connsiteX9" fmla="*/ 1306968 w 1541665"/>
                <a:gd name="connsiteY9" fmla="*/ 406231 h 1253315"/>
                <a:gd name="connsiteX10" fmla="*/ 1292300 w 1541665"/>
                <a:gd name="connsiteY10" fmla="*/ 438562 h 1253315"/>
                <a:gd name="connsiteX11" fmla="*/ 1268830 w 1541665"/>
                <a:gd name="connsiteY11" fmla="*/ 512044 h 1253315"/>
                <a:gd name="connsiteX12" fmla="*/ 1301101 w 1541665"/>
                <a:gd name="connsiteY12" fmla="*/ 606100 h 1253315"/>
                <a:gd name="connsiteX13" fmla="*/ 1251228 w 1541665"/>
                <a:gd name="connsiteY13" fmla="*/ 700156 h 1253315"/>
                <a:gd name="connsiteX14" fmla="*/ 1276164 w 1541665"/>
                <a:gd name="connsiteY14" fmla="*/ 779515 h 1253315"/>
                <a:gd name="connsiteX15" fmla="*/ 1195487 w 1541665"/>
                <a:gd name="connsiteY15" fmla="*/ 850057 h 1253315"/>
                <a:gd name="connsiteX16" fmla="*/ 1194020 w 1541665"/>
                <a:gd name="connsiteY16" fmla="*/ 948522 h 1253315"/>
                <a:gd name="connsiteX17" fmla="*/ 1135346 w 1541665"/>
                <a:gd name="connsiteY17" fmla="*/ 948522 h 1253315"/>
                <a:gd name="connsiteX18" fmla="*/ 374753 w 1541665"/>
                <a:gd name="connsiteY18" fmla="*/ 948522 h 1253315"/>
                <a:gd name="connsiteX19" fmla="*/ 300344 w 1541665"/>
                <a:gd name="connsiteY19" fmla="*/ 948522 h 1253315"/>
                <a:gd name="connsiteX20" fmla="*/ 300344 w 1541665"/>
                <a:gd name="connsiteY20" fmla="*/ 962197 h 1253315"/>
                <a:gd name="connsiteX21" fmla="*/ 300344 w 1541665"/>
                <a:gd name="connsiteY21" fmla="*/ 1090671 h 1253315"/>
                <a:gd name="connsiteX22" fmla="*/ 307688 w 1541665"/>
                <a:gd name="connsiteY22" fmla="*/ 1119976 h 1253315"/>
                <a:gd name="connsiteX23" fmla="*/ 329718 w 1541665"/>
                <a:gd name="connsiteY23" fmla="*/ 1158073 h 1253315"/>
                <a:gd name="connsiteX24" fmla="*/ 339999 w 1541665"/>
                <a:gd name="connsiteY24" fmla="*/ 1196170 h 1253315"/>
                <a:gd name="connsiteX25" fmla="*/ 273908 w 1541665"/>
                <a:gd name="connsiteY25" fmla="*/ 1253315 h 1253315"/>
                <a:gd name="connsiteX26" fmla="*/ 207818 w 1541665"/>
                <a:gd name="connsiteY26" fmla="*/ 1200566 h 1253315"/>
                <a:gd name="connsiteX27" fmla="*/ 218098 w 1541665"/>
                <a:gd name="connsiteY27" fmla="*/ 1158073 h 1253315"/>
                <a:gd name="connsiteX28" fmla="*/ 240129 w 1541665"/>
                <a:gd name="connsiteY28" fmla="*/ 1117046 h 1253315"/>
                <a:gd name="connsiteX29" fmla="*/ 247472 w 1541665"/>
                <a:gd name="connsiteY29" fmla="*/ 1090671 h 1253315"/>
                <a:gd name="connsiteX30" fmla="*/ 247472 w 1541665"/>
                <a:gd name="connsiteY30" fmla="*/ 976804 h 1253315"/>
                <a:gd name="connsiteX31" fmla="*/ 247472 w 1541665"/>
                <a:gd name="connsiteY31" fmla="*/ 948522 h 1253315"/>
                <a:gd name="connsiteX32" fmla="*/ 199850 w 1541665"/>
                <a:gd name="connsiteY32" fmla="*/ 948522 h 1253315"/>
                <a:gd name="connsiteX33" fmla="*/ 0 w 1541665"/>
                <a:gd name="connsiteY33" fmla="*/ 948522 h 1253315"/>
                <a:gd name="connsiteX34" fmla="*/ 0 w 1541665"/>
                <a:gd name="connsiteY34" fmla="*/ 313644 h 1253315"/>
                <a:gd name="connsiteX35" fmla="*/ 274384 w 1541665"/>
                <a:gd name="connsiteY35" fmla="*/ 313644 h 1253315"/>
                <a:gd name="connsiteX36" fmla="*/ 295939 w 1541665"/>
                <a:gd name="connsiteY36" fmla="*/ 313644 h 1253315"/>
                <a:gd name="connsiteX37" fmla="*/ 376383 w 1541665"/>
                <a:gd name="connsiteY37" fmla="*/ 313644 h 1253315"/>
                <a:gd name="connsiteX38" fmla="*/ 978449 w 1541665"/>
                <a:gd name="connsiteY38" fmla="*/ 313644 h 1253315"/>
                <a:gd name="connsiteX39" fmla="*/ 1085762 w 1541665"/>
                <a:gd name="connsiteY39" fmla="*/ 313644 h 1253315"/>
                <a:gd name="connsiteX40" fmla="*/ 1085762 w 1541665"/>
                <a:gd name="connsiteY40" fmla="*/ 304515 h 1253315"/>
                <a:gd name="connsiteX41" fmla="*/ 1085762 w 1541665"/>
                <a:gd name="connsiteY41" fmla="*/ 162701 h 1253315"/>
                <a:gd name="connsiteX42" fmla="*/ 1078419 w 1541665"/>
                <a:gd name="connsiteY42" fmla="*/ 133386 h 1253315"/>
                <a:gd name="connsiteX43" fmla="*/ 1056389 w 1541665"/>
                <a:gd name="connsiteY43" fmla="*/ 95275 h 1253315"/>
                <a:gd name="connsiteX44" fmla="*/ 1046108 w 1541665"/>
                <a:gd name="connsiteY44" fmla="*/ 57165 h 1253315"/>
                <a:gd name="connsiteX45" fmla="*/ 1113667 w 1541665"/>
                <a:gd name="connsiteY45" fmla="*/ 0 h 1253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541665" h="1253315">
                  <a:moveTo>
                    <a:pt x="1113667" y="0"/>
                  </a:moveTo>
                  <a:cubicBezTo>
                    <a:pt x="1147447" y="0"/>
                    <a:pt x="1176820" y="23452"/>
                    <a:pt x="1179758" y="52768"/>
                  </a:cubicBezTo>
                  <a:cubicBezTo>
                    <a:pt x="1181226" y="68891"/>
                    <a:pt x="1178289" y="83549"/>
                    <a:pt x="1168008" y="95275"/>
                  </a:cubicBezTo>
                  <a:cubicBezTo>
                    <a:pt x="1156259" y="111399"/>
                    <a:pt x="1151853" y="120194"/>
                    <a:pt x="1145978" y="136317"/>
                  </a:cubicBezTo>
                  <a:lnTo>
                    <a:pt x="1140103" y="162701"/>
                  </a:lnTo>
                  <a:cubicBezTo>
                    <a:pt x="1140103" y="162701"/>
                    <a:pt x="1140103" y="162701"/>
                    <a:pt x="1139119" y="288392"/>
                  </a:cubicBezTo>
                  <a:lnTo>
                    <a:pt x="1138922" y="313644"/>
                  </a:lnTo>
                  <a:lnTo>
                    <a:pt x="1147451" y="313644"/>
                  </a:lnTo>
                  <a:cubicBezTo>
                    <a:pt x="1266153" y="313644"/>
                    <a:pt x="1397134" y="313644"/>
                    <a:pt x="1541665" y="313644"/>
                  </a:cubicBezTo>
                  <a:cubicBezTo>
                    <a:pt x="1541665" y="313644"/>
                    <a:pt x="1541665" y="313644"/>
                    <a:pt x="1306968" y="406231"/>
                  </a:cubicBezTo>
                  <a:cubicBezTo>
                    <a:pt x="1306968" y="406231"/>
                    <a:pt x="1306968" y="406231"/>
                    <a:pt x="1292300" y="438562"/>
                  </a:cubicBezTo>
                  <a:cubicBezTo>
                    <a:pt x="1292300" y="438562"/>
                    <a:pt x="1292300" y="438562"/>
                    <a:pt x="1268830" y="512044"/>
                  </a:cubicBezTo>
                  <a:cubicBezTo>
                    <a:pt x="1268830" y="512044"/>
                    <a:pt x="1290833" y="586994"/>
                    <a:pt x="1301101" y="606100"/>
                  </a:cubicBezTo>
                  <a:cubicBezTo>
                    <a:pt x="1324571" y="654597"/>
                    <a:pt x="1251228" y="700156"/>
                    <a:pt x="1251228" y="700156"/>
                  </a:cubicBezTo>
                  <a:cubicBezTo>
                    <a:pt x="1251228" y="700156"/>
                    <a:pt x="1301101" y="723670"/>
                    <a:pt x="1276164" y="779515"/>
                  </a:cubicBezTo>
                  <a:cubicBezTo>
                    <a:pt x="1264430" y="803029"/>
                    <a:pt x="1195487" y="850057"/>
                    <a:pt x="1195487" y="850057"/>
                  </a:cubicBezTo>
                  <a:cubicBezTo>
                    <a:pt x="1195487" y="850057"/>
                    <a:pt x="1195487" y="850057"/>
                    <a:pt x="1194020" y="948522"/>
                  </a:cubicBezTo>
                  <a:cubicBezTo>
                    <a:pt x="1194020" y="948522"/>
                    <a:pt x="1194020" y="948522"/>
                    <a:pt x="1135346" y="948522"/>
                  </a:cubicBezTo>
                  <a:cubicBezTo>
                    <a:pt x="1135346" y="948522"/>
                    <a:pt x="1135346" y="948522"/>
                    <a:pt x="374753" y="948522"/>
                  </a:cubicBezTo>
                  <a:lnTo>
                    <a:pt x="300344" y="948522"/>
                  </a:lnTo>
                  <a:lnTo>
                    <a:pt x="300344" y="962197"/>
                  </a:lnTo>
                  <a:cubicBezTo>
                    <a:pt x="300344" y="987095"/>
                    <a:pt x="300344" y="1026932"/>
                    <a:pt x="300344" y="1090671"/>
                  </a:cubicBezTo>
                  <a:cubicBezTo>
                    <a:pt x="300344" y="1090671"/>
                    <a:pt x="300344" y="1090671"/>
                    <a:pt x="307688" y="1119976"/>
                  </a:cubicBezTo>
                  <a:cubicBezTo>
                    <a:pt x="313562" y="1134629"/>
                    <a:pt x="317968" y="1143420"/>
                    <a:pt x="329718" y="1158073"/>
                  </a:cubicBezTo>
                  <a:cubicBezTo>
                    <a:pt x="338530" y="1169795"/>
                    <a:pt x="341467" y="1181517"/>
                    <a:pt x="339999" y="1196170"/>
                  </a:cubicBezTo>
                  <a:cubicBezTo>
                    <a:pt x="339999" y="1228406"/>
                    <a:pt x="310625" y="1253315"/>
                    <a:pt x="273908" y="1253315"/>
                  </a:cubicBezTo>
                  <a:cubicBezTo>
                    <a:pt x="238660" y="1253315"/>
                    <a:pt x="209286" y="1229871"/>
                    <a:pt x="207818" y="1200566"/>
                  </a:cubicBezTo>
                  <a:cubicBezTo>
                    <a:pt x="204880" y="1182982"/>
                    <a:pt x="209286" y="1169795"/>
                    <a:pt x="218098" y="1158073"/>
                  </a:cubicBezTo>
                  <a:cubicBezTo>
                    <a:pt x="229848" y="1141955"/>
                    <a:pt x="234254" y="1133163"/>
                    <a:pt x="240129" y="1117046"/>
                  </a:cubicBezTo>
                  <a:lnTo>
                    <a:pt x="247472" y="1090671"/>
                  </a:lnTo>
                  <a:cubicBezTo>
                    <a:pt x="247472" y="1090671"/>
                    <a:pt x="247472" y="1090671"/>
                    <a:pt x="247472" y="976804"/>
                  </a:cubicBezTo>
                  <a:lnTo>
                    <a:pt x="247472" y="948522"/>
                  </a:lnTo>
                  <a:lnTo>
                    <a:pt x="199850" y="948522"/>
                  </a:lnTo>
                  <a:cubicBezTo>
                    <a:pt x="137484" y="948522"/>
                    <a:pt x="70959" y="948522"/>
                    <a:pt x="0" y="948522"/>
                  </a:cubicBezTo>
                  <a:cubicBezTo>
                    <a:pt x="0" y="948522"/>
                    <a:pt x="0" y="948522"/>
                    <a:pt x="0" y="313644"/>
                  </a:cubicBezTo>
                  <a:cubicBezTo>
                    <a:pt x="0" y="313644"/>
                    <a:pt x="0" y="313644"/>
                    <a:pt x="274384" y="313644"/>
                  </a:cubicBezTo>
                  <a:lnTo>
                    <a:pt x="295939" y="313644"/>
                  </a:lnTo>
                  <a:lnTo>
                    <a:pt x="376383" y="313644"/>
                  </a:lnTo>
                  <a:cubicBezTo>
                    <a:pt x="517527" y="313644"/>
                    <a:pt x="711599" y="313644"/>
                    <a:pt x="978449" y="313644"/>
                  </a:cubicBezTo>
                  <a:lnTo>
                    <a:pt x="1085762" y="313644"/>
                  </a:lnTo>
                  <a:lnTo>
                    <a:pt x="1085762" y="304515"/>
                  </a:lnTo>
                  <a:cubicBezTo>
                    <a:pt x="1085762" y="277032"/>
                    <a:pt x="1085762" y="233059"/>
                    <a:pt x="1085762" y="162701"/>
                  </a:cubicBezTo>
                  <a:cubicBezTo>
                    <a:pt x="1085762" y="162701"/>
                    <a:pt x="1085762" y="162701"/>
                    <a:pt x="1078419" y="133386"/>
                  </a:cubicBezTo>
                  <a:cubicBezTo>
                    <a:pt x="1072544" y="118728"/>
                    <a:pt x="1068138" y="109933"/>
                    <a:pt x="1056389" y="95275"/>
                  </a:cubicBezTo>
                  <a:cubicBezTo>
                    <a:pt x="1049045" y="83549"/>
                    <a:pt x="1044639" y="71823"/>
                    <a:pt x="1046108" y="57165"/>
                  </a:cubicBezTo>
                  <a:cubicBezTo>
                    <a:pt x="1046108" y="24918"/>
                    <a:pt x="1076950" y="0"/>
                    <a:pt x="1113667" y="0"/>
                  </a:cubicBezTo>
                  <a:close/>
                </a:path>
              </a:pathLst>
            </a:custGeom>
            <a:solidFill>
              <a:srgbClr val="595959"/>
            </a:solidFill>
            <a:ln>
              <a:noFill/>
            </a:ln>
          </p:spPr>
          <p:txBody>
            <a:bodyPr vert="horz" wrap="square" lIns="91440" tIns="45720" rIns="91440" bIns="45720" numCol="1" anchor="t" anchorCtr="0" compatLnSpc="1">
              <a:prstTxWarp prst="textNoShape">
                <a:avLst/>
              </a:prstTxWarp>
              <a:noAutofit/>
            </a:bodyPr>
            <a:lstStyle/>
            <a:p>
              <a:pPr marL="0" marR="0" lvl="0" indent="0" defTabSz="1042526"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a:ln>
                  <a:noFill/>
                </a:ln>
                <a:solidFill>
                  <a:srgbClr val="404040"/>
                </a:solidFill>
                <a:effectLst/>
                <a:uLnTx/>
                <a:uFillTx/>
                <a:latin typeface="Tahoma"/>
              </a:endParaRPr>
            </a:p>
          </p:txBody>
        </p:sp>
        <p:sp>
          <p:nvSpPr>
            <p:cNvPr id="31" name="Freeform 38">
              <a:extLst>
                <a:ext uri="{FF2B5EF4-FFF2-40B4-BE49-F238E27FC236}">
                  <a16:creationId xmlns:a16="http://schemas.microsoft.com/office/drawing/2014/main" id="{21C64F66-3083-7346-B3AD-3E938A81F936}"/>
                </a:ext>
              </a:extLst>
            </p:cNvPr>
            <p:cNvSpPr>
              <a:spLocks/>
            </p:cNvSpPr>
            <p:nvPr/>
          </p:nvSpPr>
          <p:spPr bwMode="auto">
            <a:xfrm>
              <a:off x="652060" y="1883739"/>
              <a:ext cx="844249" cy="811841"/>
            </a:xfrm>
            <a:custGeom>
              <a:avLst/>
              <a:gdLst>
                <a:gd name="T0" fmla="*/ 449 w 449"/>
                <a:gd name="T1" fmla="*/ 0 h 432"/>
                <a:gd name="T2" fmla="*/ 159 w 449"/>
                <a:gd name="T3" fmla="*/ 0 h 432"/>
                <a:gd name="T4" fmla="*/ 99 w 449"/>
                <a:gd name="T5" fmla="*/ 103 h 432"/>
                <a:gd name="T6" fmla="*/ 0 w 449"/>
                <a:gd name="T7" fmla="*/ 432 h 432"/>
                <a:gd name="T8" fmla="*/ 271 w 449"/>
                <a:gd name="T9" fmla="*/ 432 h 432"/>
                <a:gd name="T10" fmla="*/ 271 w 449"/>
                <a:gd name="T11" fmla="*/ 391 h 432"/>
                <a:gd name="T12" fmla="*/ 268 w 449"/>
                <a:gd name="T13" fmla="*/ 378 h 432"/>
                <a:gd name="T14" fmla="*/ 255 w 449"/>
                <a:gd name="T15" fmla="*/ 355 h 432"/>
                <a:gd name="T16" fmla="*/ 244 w 449"/>
                <a:gd name="T17" fmla="*/ 316 h 432"/>
                <a:gd name="T18" fmla="*/ 245 w 449"/>
                <a:gd name="T19" fmla="*/ 315 h 432"/>
                <a:gd name="T20" fmla="*/ 245 w 449"/>
                <a:gd name="T21" fmla="*/ 314 h 432"/>
                <a:gd name="T22" fmla="*/ 245 w 449"/>
                <a:gd name="T23" fmla="*/ 314 h 432"/>
                <a:gd name="T24" fmla="*/ 311 w 449"/>
                <a:gd name="T25" fmla="*/ 261 h 432"/>
                <a:gd name="T26" fmla="*/ 379 w 449"/>
                <a:gd name="T27" fmla="*/ 319 h 432"/>
                <a:gd name="T28" fmla="*/ 378 w 449"/>
                <a:gd name="T29" fmla="*/ 319 h 432"/>
                <a:gd name="T30" fmla="*/ 368 w 449"/>
                <a:gd name="T31" fmla="*/ 355 h 432"/>
                <a:gd name="T32" fmla="*/ 356 w 449"/>
                <a:gd name="T33" fmla="*/ 376 h 432"/>
                <a:gd name="T34" fmla="*/ 352 w 449"/>
                <a:gd name="T35" fmla="*/ 391 h 432"/>
                <a:gd name="T36" fmla="*/ 352 w 449"/>
                <a:gd name="T37" fmla="*/ 391 h 432"/>
                <a:gd name="T38" fmla="*/ 352 w 449"/>
                <a:gd name="T39" fmla="*/ 432 h 432"/>
                <a:gd name="T40" fmla="*/ 449 w 449"/>
                <a:gd name="T41" fmla="*/ 432 h 432"/>
                <a:gd name="T42" fmla="*/ 449 w 449"/>
                <a:gd name="T43" fmla="*/ 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9" h="432">
                  <a:moveTo>
                    <a:pt x="449" y="0"/>
                  </a:moveTo>
                  <a:cubicBezTo>
                    <a:pt x="159" y="0"/>
                    <a:pt x="159" y="0"/>
                    <a:pt x="159" y="0"/>
                  </a:cubicBezTo>
                  <a:cubicBezTo>
                    <a:pt x="135" y="35"/>
                    <a:pt x="115" y="70"/>
                    <a:pt x="99" y="103"/>
                  </a:cubicBezTo>
                  <a:cubicBezTo>
                    <a:pt x="54" y="195"/>
                    <a:pt x="15" y="308"/>
                    <a:pt x="0" y="432"/>
                  </a:cubicBezTo>
                  <a:cubicBezTo>
                    <a:pt x="271" y="432"/>
                    <a:pt x="271" y="432"/>
                    <a:pt x="271" y="432"/>
                  </a:cubicBezTo>
                  <a:cubicBezTo>
                    <a:pt x="271" y="391"/>
                    <a:pt x="271" y="391"/>
                    <a:pt x="271" y="391"/>
                  </a:cubicBezTo>
                  <a:cubicBezTo>
                    <a:pt x="268" y="378"/>
                    <a:pt x="268" y="378"/>
                    <a:pt x="268" y="378"/>
                  </a:cubicBezTo>
                  <a:cubicBezTo>
                    <a:pt x="264" y="369"/>
                    <a:pt x="262" y="365"/>
                    <a:pt x="255" y="355"/>
                  </a:cubicBezTo>
                  <a:cubicBezTo>
                    <a:pt x="246" y="344"/>
                    <a:pt x="243" y="331"/>
                    <a:pt x="244" y="316"/>
                  </a:cubicBezTo>
                  <a:cubicBezTo>
                    <a:pt x="244" y="316"/>
                    <a:pt x="245" y="315"/>
                    <a:pt x="245" y="315"/>
                  </a:cubicBezTo>
                  <a:cubicBezTo>
                    <a:pt x="245" y="314"/>
                    <a:pt x="245" y="314"/>
                    <a:pt x="245" y="314"/>
                  </a:cubicBezTo>
                  <a:cubicBezTo>
                    <a:pt x="245" y="314"/>
                    <a:pt x="245" y="314"/>
                    <a:pt x="245" y="314"/>
                  </a:cubicBezTo>
                  <a:cubicBezTo>
                    <a:pt x="247" y="284"/>
                    <a:pt x="276" y="261"/>
                    <a:pt x="311" y="261"/>
                  </a:cubicBezTo>
                  <a:cubicBezTo>
                    <a:pt x="348" y="261"/>
                    <a:pt x="379" y="287"/>
                    <a:pt x="379" y="319"/>
                  </a:cubicBezTo>
                  <a:cubicBezTo>
                    <a:pt x="378" y="319"/>
                    <a:pt x="378" y="319"/>
                    <a:pt x="378" y="319"/>
                  </a:cubicBezTo>
                  <a:cubicBezTo>
                    <a:pt x="379" y="332"/>
                    <a:pt x="376" y="344"/>
                    <a:pt x="368" y="355"/>
                  </a:cubicBezTo>
                  <a:cubicBezTo>
                    <a:pt x="361" y="364"/>
                    <a:pt x="359" y="368"/>
                    <a:pt x="356" y="376"/>
                  </a:cubicBezTo>
                  <a:cubicBezTo>
                    <a:pt x="352" y="391"/>
                    <a:pt x="352" y="391"/>
                    <a:pt x="352" y="391"/>
                  </a:cubicBezTo>
                  <a:cubicBezTo>
                    <a:pt x="352" y="391"/>
                    <a:pt x="352" y="391"/>
                    <a:pt x="352" y="391"/>
                  </a:cubicBezTo>
                  <a:cubicBezTo>
                    <a:pt x="352" y="432"/>
                    <a:pt x="352" y="432"/>
                    <a:pt x="352" y="432"/>
                  </a:cubicBezTo>
                  <a:cubicBezTo>
                    <a:pt x="449" y="432"/>
                    <a:pt x="449" y="432"/>
                    <a:pt x="449" y="432"/>
                  </a:cubicBezTo>
                  <a:lnTo>
                    <a:pt x="449" y="0"/>
                  </a:lnTo>
                  <a:close/>
                </a:path>
              </a:pathLst>
            </a:custGeom>
            <a:solidFill>
              <a:srgbClr val="404040">
                <a:lumMod val="60000"/>
                <a:lumOff val="40000"/>
              </a:srgbClr>
            </a:solidFill>
            <a:ln>
              <a:noFill/>
            </a:ln>
          </p:spPr>
          <p:txBody>
            <a:bodyPr vert="horz" wrap="square" lIns="91440" tIns="45720" rIns="91440" bIns="45720" numCol="1" anchor="t" anchorCtr="0" compatLnSpc="1">
              <a:prstTxWarp prst="textNoShape">
                <a:avLst/>
              </a:prstTxWarp>
            </a:bodyPr>
            <a:lstStyle/>
            <a:p>
              <a:pPr marL="0" marR="0" lvl="0" indent="0" defTabSz="1042526"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a:ln>
                  <a:noFill/>
                </a:ln>
                <a:solidFill>
                  <a:srgbClr val="404040"/>
                </a:solidFill>
                <a:effectLst/>
                <a:uLnTx/>
                <a:uFillTx/>
                <a:latin typeface="Tahoma"/>
              </a:endParaRPr>
            </a:p>
          </p:txBody>
        </p:sp>
        <p:sp>
          <p:nvSpPr>
            <p:cNvPr id="32" name="Freeform 101">
              <a:extLst>
                <a:ext uri="{FF2B5EF4-FFF2-40B4-BE49-F238E27FC236}">
                  <a16:creationId xmlns:a16="http://schemas.microsoft.com/office/drawing/2014/main" id="{1381D88E-3E8E-794E-9629-DBFD329467A7}"/>
                </a:ext>
              </a:extLst>
            </p:cNvPr>
            <p:cNvSpPr>
              <a:spLocks/>
            </p:cNvSpPr>
            <p:nvPr/>
          </p:nvSpPr>
          <p:spPr bwMode="auto">
            <a:xfrm>
              <a:off x="1635666" y="1455942"/>
              <a:ext cx="1351446" cy="1239637"/>
            </a:xfrm>
            <a:custGeom>
              <a:avLst/>
              <a:gdLst>
                <a:gd name="connsiteX0" fmla="*/ 0 w 1054757"/>
                <a:gd name="connsiteY0" fmla="*/ 333881 h 967494"/>
                <a:gd name="connsiteX1" fmla="*/ 2060 w 1054757"/>
                <a:gd name="connsiteY1" fmla="*/ 333881 h 967494"/>
                <a:gd name="connsiteX2" fmla="*/ 16481 w 1054757"/>
                <a:gd name="connsiteY2" fmla="*/ 333881 h 967494"/>
                <a:gd name="connsiteX3" fmla="*/ 55622 w 1054757"/>
                <a:gd name="connsiteY3" fmla="*/ 333881 h 967494"/>
                <a:gd name="connsiteX4" fmla="*/ 131845 w 1054757"/>
                <a:gd name="connsiteY4" fmla="*/ 333881 h 967494"/>
                <a:gd name="connsiteX5" fmla="*/ 187724 w 1054757"/>
                <a:gd name="connsiteY5" fmla="*/ 333881 h 967494"/>
                <a:gd name="connsiteX6" fmla="*/ 257509 w 1054757"/>
                <a:gd name="connsiteY6" fmla="*/ 333881 h 967494"/>
                <a:gd name="connsiteX7" fmla="*/ 342745 w 1054757"/>
                <a:gd name="connsiteY7" fmla="*/ 333881 h 967494"/>
                <a:gd name="connsiteX8" fmla="*/ 444976 w 1054757"/>
                <a:gd name="connsiteY8" fmla="*/ 333881 h 967494"/>
                <a:gd name="connsiteX9" fmla="*/ 565747 w 1054757"/>
                <a:gd name="connsiteY9" fmla="*/ 333881 h 967494"/>
                <a:gd name="connsiteX10" fmla="*/ 706605 w 1054757"/>
                <a:gd name="connsiteY10" fmla="*/ 333881 h 967494"/>
                <a:gd name="connsiteX11" fmla="*/ 869093 w 1054757"/>
                <a:gd name="connsiteY11" fmla="*/ 333881 h 967494"/>
                <a:gd name="connsiteX12" fmla="*/ 902994 w 1054757"/>
                <a:gd name="connsiteY12" fmla="*/ 333881 h 967494"/>
                <a:gd name="connsiteX13" fmla="*/ 1054757 w 1054757"/>
                <a:gd name="connsiteY13" fmla="*/ 333881 h 967494"/>
                <a:gd name="connsiteX14" fmla="*/ 1054757 w 1054757"/>
                <a:gd name="connsiteY14" fmla="*/ 967494 h 967494"/>
                <a:gd name="connsiteX15" fmla="*/ 934465 w 1054757"/>
                <a:gd name="connsiteY15" fmla="*/ 967494 h 967494"/>
                <a:gd name="connsiteX16" fmla="*/ 934465 w 1054757"/>
                <a:gd name="connsiteY16" fmla="*/ 905893 h 967494"/>
                <a:gd name="connsiteX17" fmla="*/ 935932 w 1054757"/>
                <a:gd name="connsiteY17" fmla="*/ 905893 h 967494"/>
                <a:gd name="connsiteX18" fmla="*/ 940333 w 1054757"/>
                <a:gd name="connsiteY18" fmla="*/ 883892 h 967494"/>
                <a:gd name="connsiteX19" fmla="*/ 957937 w 1054757"/>
                <a:gd name="connsiteY19" fmla="*/ 853092 h 967494"/>
                <a:gd name="connsiteX20" fmla="*/ 974073 w 1054757"/>
                <a:gd name="connsiteY20" fmla="*/ 800291 h 967494"/>
                <a:gd name="connsiteX21" fmla="*/ 875786 w 1054757"/>
                <a:gd name="connsiteY21" fmla="*/ 715222 h 967494"/>
                <a:gd name="connsiteX22" fmla="*/ 777498 w 1054757"/>
                <a:gd name="connsiteY22" fmla="*/ 792957 h 967494"/>
                <a:gd name="connsiteX23" fmla="*/ 777498 w 1054757"/>
                <a:gd name="connsiteY23" fmla="*/ 794424 h 967494"/>
                <a:gd name="connsiteX24" fmla="*/ 777498 w 1054757"/>
                <a:gd name="connsiteY24" fmla="*/ 795891 h 967494"/>
                <a:gd name="connsiteX25" fmla="*/ 793635 w 1054757"/>
                <a:gd name="connsiteY25" fmla="*/ 853092 h 967494"/>
                <a:gd name="connsiteX26" fmla="*/ 811239 w 1054757"/>
                <a:gd name="connsiteY26" fmla="*/ 886826 h 967494"/>
                <a:gd name="connsiteX27" fmla="*/ 817107 w 1054757"/>
                <a:gd name="connsiteY27" fmla="*/ 905893 h 967494"/>
                <a:gd name="connsiteX28" fmla="*/ 817107 w 1054757"/>
                <a:gd name="connsiteY28" fmla="*/ 967494 h 967494"/>
                <a:gd name="connsiteX29" fmla="*/ 551587 w 1054757"/>
                <a:gd name="connsiteY29" fmla="*/ 967494 h 967494"/>
                <a:gd name="connsiteX30" fmla="*/ 547614 w 1054757"/>
                <a:gd name="connsiteY30" fmla="*/ 967494 h 967494"/>
                <a:gd name="connsiteX31" fmla="*/ 472390 w 1054757"/>
                <a:gd name="connsiteY31" fmla="*/ 967494 h 967494"/>
                <a:gd name="connsiteX32" fmla="*/ 378830 w 1054757"/>
                <a:gd name="connsiteY32" fmla="*/ 967494 h 967494"/>
                <a:gd name="connsiteX33" fmla="*/ 269709 w 1054757"/>
                <a:gd name="connsiteY33" fmla="*/ 967494 h 967494"/>
                <a:gd name="connsiteX34" fmla="*/ 143832 w 1054757"/>
                <a:gd name="connsiteY34" fmla="*/ 967494 h 967494"/>
                <a:gd name="connsiteX35" fmla="*/ 0 w 1054757"/>
                <a:gd name="connsiteY35" fmla="*/ 967494 h 967494"/>
                <a:gd name="connsiteX36" fmla="*/ 0 w 1054757"/>
                <a:gd name="connsiteY36" fmla="*/ 966257 h 967494"/>
                <a:gd name="connsiteX37" fmla="*/ 0 w 1054757"/>
                <a:gd name="connsiteY37" fmla="*/ 957594 h 967494"/>
                <a:gd name="connsiteX38" fmla="*/ 0 w 1054757"/>
                <a:gd name="connsiteY38" fmla="*/ 934081 h 967494"/>
                <a:gd name="connsiteX39" fmla="*/ 0 w 1054757"/>
                <a:gd name="connsiteY39" fmla="*/ 888292 h 967494"/>
                <a:gd name="connsiteX40" fmla="*/ 0 w 1054757"/>
                <a:gd name="connsiteY40" fmla="*/ 854725 h 967494"/>
                <a:gd name="connsiteX41" fmla="*/ 0 w 1054757"/>
                <a:gd name="connsiteY41" fmla="*/ 812803 h 967494"/>
                <a:gd name="connsiteX42" fmla="*/ 0 w 1054757"/>
                <a:gd name="connsiteY42" fmla="*/ 761601 h 967494"/>
                <a:gd name="connsiteX43" fmla="*/ 0 w 1054757"/>
                <a:gd name="connsiteY43" fmla="*/ 700189 h 967494"/>
                <a:gd name="connsiteX44" fmla="*/ 0 w 1054757"/>
                <a:gd name="connsiteY44" fmla="*/ 627639 h 967494"/>
                <a:gd name="connsiteX45" fmla="*/ 0 w 1054757"/>
                <a:gd name="connsiteY45" fmla="*/ 543023 h 967494"/>
                <a:gd name="connsiteX46" fmla="*/ 0 w 1054757"/>
                <a:gd name="connsiteY46" fmla="*/ 445413 h 967494"/>
                <a:gd name="connsiteX47" fmla="*/ 944096 w 1054757"/>
                <a:gd name="connsiteY47" fmla="*/ 0 h 967494"/>
                <a:gd name="connsiteX48" fmla="*/ 1010286 w 1054757"/>
                <a:gd name="connsiteY48" fmla="*/ 54421 h 967494"/>
                <a:gd name="connsiteX49" fmla="*/ 999990 w 1054757"/>
                <a:gd name="connsiteY49" fmla="*/ 97075 h 967494"/>
                <a:gd name="connsiteX50" fmla="*/ 976456 w 1054757"/>
                <a:gd name="connsiteY50" fmla="*/ 138259 h 967494"/>
                <a:gd name="connsiteX51" fmla="*/ 977926 w 1054757"/>
                <a:gd name="connsiteY51" fmla="*/ 138259 h 967494"/>
                <a:gd name="connsiteX52" fmla="*/ 970572 w 1054757"/>
                <a:gd name="connsiteY52" fmla="*/ 163263 h 967494"/>
                <a:gd name="connsiteX53" fmla="*/ 970572 w 1054757"/>
                <a:gd name="connsiteY53" fmla="*/ 333880 h 967494"/>
                <a:gd name="connsiteX54" fmla="*/ 917620 w 1054757"/>
                <a:gd name="connsiteY54" fmla="*/ 333880 h 967494"/>
                <a:gd name="connsiteX55" fmla="*/ 916149 w 1054757"/>
                <a:gd name="connsiteY55" fmla="*/ 163263 h 967494"/>
                <a:gd name="connsiteX56" fmla="*/ 908794 w 1054757"/>
                <a:gd name="connsiteY56" fmla="*/ 135317 h 967494"/>
                <a:gd name="connsiteX57" fmla="*/ 888201 w 1054757"/>
                <a:gd name="connsiteY57" fmla="*/ 97075 h 967494"/>
                <a:gd name="connsiteX58" fmla="*/ 876434 w 1054757"/>
                <a:gd name="connsiteY58" fmla="*/ 57363 h 967494"/>
                <a:gd name="connsiteX59" fmla="*/ 944096 w 1054757"/>
                <a:gd name="connsiteY59" fmla="*/ 0 h 967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054757" h="967494">
                  <a:moveTo>
                    <a:pt x="0" y="333881"/>
                  </a:moveTo>
                  <a:lnTo>
                    <a:pt x="2060" y="333881"/>
                  </a:lnTo>
                  <a:lnTo>
                    <a:pt x="16481" y="333881"/>
                  </a:lnTo>
                  <a:lnTo>
                    <a:pt x="55622" y="333881"/>
                  </a:lnTo>
                  <a:lnTo>
                    <a:pt x="131845" y="333881"/>
                  </a:lnTo>
                  <a:lnTo>
                    <a:pt x="187724" y="333881"/>
                  </a:lnTo>
                  <a:lnTo>
                    <a:pt x="257509" y="333881"/>
                  </a:lnTo>
                  <a:lnTo>
                    <a:pt x="342745" y="333881"/>
                  </a:lnTo>
                  <a:lnTo>
                    <a:pt x="444976" y="333881"/>
                  </a:lnTo>
                  <a:lnTo>
                    <a:pt x="565747" y="333881"/>
                  </a:lnTo>
                  <a:lnTo>
                    <a:pt x="706605" y="333881"/>
                  </a:lnTo>
                  <a:lnTo>
                    <a:pt x="869093" y="333881"/>
                  </a:lnTo>
                  <a:lnTo>
                    <a:pt x="902994" y="333881"/>
                  </a:lnTo>
                  <a:lnTo>
                    <a:pt x="1054757" y="333881"/>
                  </a:lnTo>
                  <a:cubicBezTo>
                    <a:pt x="1054757" y="333881"/>
                    <a:pt x="1054757" y="333881"/>
                    <a:pt x="1054757" y="967494"/>
                  </a:cubicBezTo>
                  <a:cubicBezTo>
                    <a:pt x="1054757" y="967494"/>
                    <a:pt x="1054757" y="967494"/>
                    <a:pt x="934465" y="967494"/>
                  </a:cubicBezTo>
                  <a:cubicBezTo>
                    <a:pt x="934465" y="967494"/>
                    <a:pt x="934465" y="967494"/>
                    <a:pt x="934465" y="905893"/>
                  </a:cubicBezTo>
                  <a:cubicBezTo>
                    <a:pt x="934465" y="905893"/>
                    <a:pt x="934465" y="905893"/>
                    <a:pt x="935932" y="905893"/>
                  </a:cubicBezTo>
                  <a:cubicBezTo>
                    <a:pt x="935932" y="905893"/>
                    <a:pt x="935932" y="905893"/>
                    <a:pt x="940333" y="883892"/>
                  </a:cubicBezTo>
                  <a:cubicBezTo>
                    <a:pt x="944734" y="872159"/>
                    <a:pt x="949135" y="866292"/>
                    <a:pt x="957937" y="853092"/>
                  </a:cubicBezTo>
                  <a:cubicBezTo>
                    <a:pt x="969673" y="836958"/>
                    <a:pt x="975540" y="819358"/>
                    <a:pt x="974073" y="800291"/>
                  </a:cubicBezTo>
                  <a:cubicBezTo>
                    <a:pt x="974073" y="753356"/>
                    <a:pt x="930064" y="715222"/>
                    <a:pt x="875786" y="715222"/>
                  </a:cubicBezTo>
                  <a:cubicBezTo>
                    <a:pt x="824442" y="715222"/>
                    <a:pt x="781899" y="748956"/>
                    <a:pt x="777498" y="792957"/>
                  </a:cubicBezTo>
                  <a:cubicBezTo>
                    <a:pt x="777498" y="792957"/>
                    <a:pt x="777498" y="792957"/>
                    <a:pt x="777498" y="794424"/>
                  </a:cubicBezTo>
                  <a:cubicBezTo>
                    <a:pt x="777498" y="794424"/>
                    <a:pt x="777498" y="795891"/>
                    <a:pt x="777498" y="795891"/>
                  </a:cubicBezTo>
                  <a:cubicBezTo>
                    <a:pt x="776031" y="817891"/>
                    <a:pt x="780432" y="836958"/>
                    <a:pt x="793635" y="853092"/>
                  </a:cubicBezTo>
                  <a:cubicBezTo>
                    <a:pt x="803904" y="866292"/>
                    <a:pt x="806838" y="873626"/>
                    <a:pt x="811239" y="886826"/>
                  </a:cubicBezTo>
                  <a:cubicBezTo>
                    <a:pt x="811239" y="886826"/>
                    <a:pt x="811239" y="886826"/>
                    <a:pt x="817107" y="905893"/>
                  </a:cubicBezTo>
                  <a:cubicBezTo>
                    <a:pt x="817107" y="905893"/>
                    <a:pt x="817107" y="905893"/>
                    <a:pt x="817107" y="967494"/>
                  </a:cubicBezTo>
                  <a:cubicBezTo>
                    <a:pt x="817107" y="967494"/>
                    <a:pt x="817107" y="967494"/>
                    <a:pt x="551587" y="967494"/>
                  </a:cubicBezTo>
                  <a:lnTo>
                    <a:pt x="547614" y="967494"/>
                  </a:lnTo>
                  <a:lnTo>
                    <a:pt x="472390" y="967494"/>
                  </a:lnTo>
                  <a:lnTo>
                    <a:pt x="378830" y="967494"/>
                  </a:lnTo>
                  <a:lnTo>
                    <a:pt x="269709" y="967494"/>
                  </a:lnTo>
                  <a:lnTo>
                    <a:pt x="143832" y="967494"/>
                  </a:lnTo>
                  <a:lnTo>
                    <a:pt x="0" y="967494"/>
                  </a:lnTo>
                  <a:lnTo>
                    <a:pt x="0" y="966257"/>
                  </a:lnTo>
                  <a:lnTo>
                    <a:pt x="0" y="957594"/>
                  </a:lnTo>
                  <a:lnTo>
                    <a:pt x="0" y="934081"/>
                  </a:lnTo>
                  <a:lnTo>
                    <a:pt x="0" y="888292"/>
                  </a:lnTo>
                  <a:lnTo>
                    <a:pt x="0" y="854725"/>
                  </a:lnTo>
                  <a:lnTo>
                    <a:pt x="0" y="812803"/>
                  </a:lnTo>
                  <a:lnTo>
                    <a:pt x="0" y="761601"/>
                  </a:lnTo>
                  <a:lnTo>
                    <a:pt x="0" y="700189"/>
                  </a:lnTo>
                  <a:lnTo>
                    <a:pt x="0" y="627639"/>
                  </a:lnTo>
                  <a:lnTo>
                    <a:pt x="0" y="543023"/>
                  </a:lnTo>
                  <a:lnTo>
                    <a:pt x="0" y="445413"/>
                  </a:lnTo>
                  <a:close/>
                  <a:moveTo>
                    <a:pt x="944096" y="0"/>
                  </a:moveTo>
                  <a:cubicBezTo>
                    <a:pt x="979397" y="0"/>
                    <a:pt x="1007345" y="23533"/>
                    <a:pt x="1010286" y="54421"/>
                  </a:cubicBezTo>
                  <a:cubicBezTo>
                    <a:pt x="1011757" y="70600"/>
                    <a:pt x="1008815" y="83838"/>
                    <a:pt x="999990" y="97075"/>
                  </a:cubicBezTo>
                  <a:cubicBezTo>
                    <a:pt x="988223" y="111784"/>
                    <a:pt x="983810" y="120609"/>
                    <a:pt x="976456" y="138259"/>
                  </a:cubicBezTo>
                  <a:cubicBezTo>
                    <a:pt x="976456" y="138259"/>
                    <a:pt x="976456" y="138259"/>
                    <a:pt x="977926" y="138259"/>
                  </a:cubicBezTo>
                  <a:lnTo>
                    <a:pt x="970572" y="163263"/>
                  </a:lnTo>
                  <a:cubicBezTo>
                    <a:pt x="970572" y="163263"/>
                    <a:pt x="970572" y="163263"/>
                    <a:pt x="970572" y="333880"/>
                  </a:cubicBezTo>
                  <a:cubicBezTo>
                    <a:pt x="970572" y="333880"/>
                    <a:pt x="970572" y="333880"/>
                    <a:pt x="917620" y="333880"/>
                  </a:cubicBezTo>
                  <a:cubicBezTo>
                    <a:pt x="917620" y="333880"/>
                    <a:pt x="917620" y="333880"/>
                    <a:pt x="916149" y="163263"/>
                  </a:cubicBezTo>
                  <a:cubicBezTo>
                    <a:pt x="916149" y="163263"/>
                    <a:pt x="916149" y="163263"/>
                    <a:pt x="908794" y="135317"/>
                  </a:cubicBezTo>
                  <a:cubicBezTo>
                    <a:pt x="902910" y="119138"/>
                    <a:pt x="898498" y="111784"/>
                    <a:pt x="888201" y="97075"/>
                  </a:cubicBezTo>
                  <a:cubicBezTo>
                    <a:pt x="879376" y="85308"/>
                    <a:pt x="876434" y="72071"/>
                    <a:pt x="876434" y="57363"/>
                  </a:cubicBezTo>
                  <a:cubicBezTo>
                    <a:pt x="876434" y="26475"/>
                    <a:pt x="907323" y="0"/>
                    <a:pt x="944096" y="0"/>
                  </a:cubicBezTo>
                  <a:close/>
                </a:path>
              </a:pathLst>
            </a:custGeom>
            <a:solidFill>
              <a:srgbClr val="404040">
                <a:lumMod val="40000"/>
                <a:lumOff val="60000"/>
              </a:srgbClr>
            </a:solidFill>
            <a:ln>
              <a:noFill/>
            </a:ln>
          </p:spPr>
          <p:txBody>
            <a:bodyPr vert="horz" wrap="square" lIns="91440" tIns="45720" rIns="91440" bIns="45720" numCol="1" anchor="t" anchorCtr="0" compatLnSpc="1">
              <a:prstTxWarp prst="textNoShape">
                <a:avLst/>
              </a:prstTxWarp>
              <a:noAutofit/>
            </a:bodyPr>
            <a:lstStyle/>
            <a:p>
              <a:pPr marL="0" marR="0" lvl="0" indent="0" defTabSz="1042526"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a:ln>
                  <a:noFill/>
                </a:ln>
                <a:solidFill>
                  <a:srgbClr val="404040"/>
                </a:solidFill>
                <a:effectLst/>
                <a:uLnTx/>
                <a:uFillTx/>
                <a:latin typeface="Tahoma"/>
              </a:endParaRPr>
            </a:p>
          </p:txBody>
        </p:sp>
        <p:sp>
          <p:nvSpPr>
            <p:cNvPr id="33" name="Freeform 98">
              <a:extLst>
                <a:ext uri="{FF2B5EF4-FFF2-40B4-BE49-F238E27FC236}">
                  <a16:creationId xmlns:a16="http://schemas.microsoft.com/office/drawing/2014/main" id="{582D5233-2D1A-9541-B5D9-793DDD55088E}"/>
                </a:ext>
              </a:extLst>
            </p:cNvPr>
            <p:cNvSpPr>
              <a:spLocks/>
            </p:cNvSpPr>
            <p:nvPr/>
          </p:nvSpPr>
          <p:spPr bwMode="auto">
            <a:xfrm>
              <a:off x="638996" y="2408762"/>
              <a:ext cx="857311" cy="1613957"/>
            </a:xfrm>
            <a:custGeom>
              <a:avLst/>
              <a:gdLst>
                <a:gd name="connsiteX0" fmla="*/ 466016 w 669102"/>
                <a:gd name="connsiteY0" fmla="*/ 0 h 1259638"/>
                <a:gd name="connsiteX1" fmla="*/ 533575 w 669102"/>
                <a:gd name="connsiteY1" fmla="*/ 52814 h 1259638"/>
                <a:gd name="connsiteX2" fmla="*/ 532107 w 669102"/>
                <a:gd name="connsiteY2" fmla="*/ 52814 h 1259638"/>
                <a:gd name="connsiteX3" fmla="*/ 521826 w 669102"/>
                <a:gd name="connsiteY3" fmla="*/ 95358 h 1259638"/>
                <a:gd name="connsiteX4" fmla="*/ 499796 w 669102"/>
                <a:gd name="connsiteY4" fmla="*/ 136436 h 1259638"/>
                <a:gd name="connsiteX5" fmla="*/ 493921 w 669102"/>
                <a:gd name="connsiteY5" fmla="*/ 162843 h 1259638"/>
                <a:gd name="connsiteX6" fmla="*/ 492452 w 669102"/>
                <a:gd name="connsiteY6" fmla="*/ 330086 h 1259638"/>
                <a:gd name="connsiteX7" fmla="*/ 551551 w 669102"/>
                <a:gd name="connsiteY7" fmla="*/ 330086 h 1259638"/>
                <a:gd name="connsiteX8" fmla="*/ 669102 w 669102"/>
                <a:gd name="connsiteY8" fmla="*/ 330086 h 1259638"/>
                <a:gd name="connsiteX9" fmla="*/ 669102 w 669102"/>
                <a:gd name="connsiteY9" fmla="*/ 966229 h 1259638"/>
                <a:gd name="connsiteX10" fmla="*/ 573757 w 669102"/>
                <a:gd name="connsiteY10" fmla="*/ 966229 h 1259638"/>
                <a:gd name="connsiteX11" fmla="*/ 567273 w 669102"/>
                <a:gd name="connsiteY11" fmla="*/ 966229 h 1259638"/>
                <a:gd name="connsiteX12" fmla="*/ 567273 w 669102"/>
                <a:gd name="connsiteY12" fmla="*/ 1002174 h 1259638"/>
                <a:gd name="connsiteX13" fmla="*/ 567273 w 669102"/>
                <a:gd name="connsiteY13" fmla="*/ 1096493 h 1259638"/>
                <a:gd name="connsiteX14" fmla="*/ 574617 w 669102"/>
                <a:gd name="connsiteY14" fmla="*/ 1125888 h 1259638"/>
                <a:gd name="connsiteX15" fmla="*/ 596647 w 669102"/>
                <a:gd name="connsiteY15" fmla="*/ 1164102 h 1259638"/>
                <a:gd name="connsiteX16" fmla="*/ 606927 w 669102"/>
                <a:gd name="connsiteY16" fmla="*/ 1202317 h 1259638"/>
                <a:gd name="connsiteX17" fmla="*/ 539368 w 669102"/>
                <a:gd name="connsiteY17" fmla="*/ 1259638 h 1259638"/>
                <a:gd name="connsiteX18" fmla="*/ 473278 w 669102"/>
                <a:gd name="connsiteY18" fmla="*/ 1206726 h 1259638"/>
                <a:gd name="connsiteX19" fmla="*/ 485027 w 669102"/>
                <a:gd name="connsiteY19" fmla="*/ 1164102 h 1259638"/>
                <a:gd name="connsiteX20" fmla="*/ 507057 w 669102"/>
                <a:gd name="connsiteY20" fmla="*/ 1122949 h 1259638"/>
                <a:gd name="connsiteX21" fmla="*/ 512932 w 669102"/>
                <a:gd name="connsiteY21" fmla="*/ 1096493 h 1259638"/>
                <a:gd name="connsiteX22" fmla="*/ 512932 w 669102"/>
                <a:gd name="connsiteY22" fmla="*/ 987198 h 1259638"/>
                <a:gd name="connsiteX23" fmla="*/ 512932 w 669102"/>
                <a:gd name="connsiteY23" fmla="*/ 966229 h 1259638"/>
                <a:gd name="connsiteX24" fmla="*/ 495022 w 669102"/>
                <a:gd name="connsiteY24" fmla="*/ 966229 h 1259638"/>
                <a:gd name="connsiteX25" fmla="*/ 133389 w 669102"/>
                <a:gd name="connsiteY25" fmla="*/ 966229 h 1259638"/>
                <a:gd name="connsiteX26" fmla="*/ 1295 w 669102"/>
                <a:gd name="connsiteY26" fmla="*/ 330086 h 1259638"/>
                <a:gd name="connsiteX27" fmla="*/ 359491 w 669102"/>
                <a:gd name="connsiteY27" fmla="*/ 330086 h 1259638"/>
                <a:gd name="connsiteX28" fmla="*/ 439580 w 669102"/>
                <a:gd name="connsiteY28" fmla="*/ 330086 h 1259638"/>
                <a:gd name="connsiteX29" fmla="*/ 439580 w 669102"/>
                <a:gd name="connsiteY29" fmla="*/ 162843 h 1259638"/>
                <a:gd name="connsiteX30" fmla="*/ 432237 w 669102"/>
                <a:gd name="connsiteY30" fmla="*/ 133502 h 1259638"/>
                <a:gd name="connsiteX31" fmla="*/ 410207 w 669102"/>
                <a:gd name="connsiteY31" fmla="*/ 95358 h 1259638"/>
                <a:gd name="connsiteX32" fmla="*/ 399926 w 669102"/>
                <a:gd name="connsiteY32" fmla="*/ 57215 h 1259638"/>
                <a:gd name="connsiteX33" fmla="*/ 466016 w 669102"/>
                <a:gd name="connsiteY33" fmla="*/ 0 h 1259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69102" h="1259638">
                  <a:moveTo>
                    <a:pt x="466016" y="0"/>
                  </a:moveTo>
                  <a:cubicBezTo>
                    <a:pt x="501265" y="0"/>
                    <a:pt x="530638" y="23473"/>
                    <a:pt x="533575" y="52814"/>
                  </a:cubicBezTo>
                  <a:cubicBezTo>
                    <a:pt x="533575" y="52814"/>
                    <a:pt x="533575" y="52814"/>
                    <a:pt x="532107" y="52814"/>
                  </a:cubicBezTo>
                  <a:cubicBezTo>
                    <a:pt x="535044" y="68951"/>
                    <a:pt x="532107" y="83622"/>
                    <a:pt x="521826" y="95358"/>
                  </a:cubicBezTo>
                  <a:cubicBezTo>
                    <a:pt x="510077" y="111496"/>
                    <a:pt x="505671" y="120298"/>
                    <a:pt x="499796" y="136436"/>
                  </a:cubicBezTo>
                  <a:lnTo>
                    <a:pt x="493921" y="162843"/>
                  </a:lnTo>
                  <a:cubicBezTo>
                    <a:pt x="493921" y="162843"/>
                    <a:pt x="493921" y="162843"/>
                    <a:pt x="492452" y="330086"/>
                  </a:cubicBezTo>
                  <a:lnTo>
                    <a:pt x="551551" y="330086"/>
                  </a:lnTo>
                  <a:cubicBezTo>
                    <a:pt x="588235" y="330086"/>
                    <a:pt x="627364" y="330086"/>
                    <a:pt x="669102" y="330086"/>
                  </a:cubicBezTo>
                  <a:lnTo>
                    <a:pt x="669102" y="966229"/>
                  </a:lnTo>
                  <a:cubicBezTo>
                    <a:pt x="669102" y="966229"/>
                    <a:pt x="669102" y="966229"/>
                    <a:pt x="573757" y="966229"/>
                  </a:cubicBezTo>
                  <a:lnTo>
                    <a:pt x="567273" y="966229"/>
                  </a:lnTo>
                  <a:lnTo>
                    <a:pt x="567273" y="1002174"/>
                  </a:lnTo>
                  <a:cubicBezTo>
                    <a:pt x="567273" y="1025116"/>
                    <a:pt x="567273" y="1055706"/>
                    <a:pt x="567273" y="1096493"/>
                  </a:cubicBezTo>
                  <a:cubicBezTo>
                    <a:pt x="567273" y="1096493"/>
                    <a:pt x="567273" y="1096493"/>
                    <a:pt x="574617" y="1125888"/>
                  </a:cubicBezTo>
                  <a:cubicBezTo>
                    <a:pt x="580491" y="1140586"/>
                    <a:pt x="584897" y="1149405"/>
                    <a:pt x="596647" y="1164102"/>
                  </a:cubicBezTo>
                  <a:cubicBezTo>
                    <a:pt x="603990" y="1175861"/>
                    <a:pt x="608396" y="1187619"/>
                    <a:pt x="606927" y="1202317"/>
                  </a:cubicBezTo>
                  <a:cubicBezTo>
                    <a:pt x="606927" y="1234652"/>
                    <a:pt x="576085" y="1259638"/>
                    <a:pt x="539368" y="1259638"/>
                  </a:cubicBezTo>
                  <a:cubicBezTo>
                    <a:pt x="505589" y="1259638"/>
                    <a:pt x="476215" y="1236122"/>
                    <a:pt x="473278" y="1206726"/>
                  </a:cubicBezTo>
                  <a:cubicBezTo>
                    <a:pt x="471809" y="1190559"/>
                    <a:pt x="474746" y="1177330"/>
                    <a:pt x="485027" y="1164102"/>
                  </a:cubicBezTo>
                  <a:cubicBezTo>
                    <a:pt x="496777" y="1147935"/>
                    <a:pt x="501183" y="1140586"/>
                    <a:pt x="507057" y="1122949"/>
                  </a:cubicBezTo>
                  <a:lnTo>
                    <a:pt x="512932" y="1096493"/>
                  </a:lnTo>
                  <a:cubicBezTo>
                    <a:pt x="512932" y="1096493"/>
                    <a:pt x="512932" y="1096493"/>
                    <a:pt x="512932" y="987198"/>
                  </a:cubicBezTo>
                  <a:lnTo>
                    <a:pt x="512932" y="966229"/>
                  </a:lnTo>
                  <a:lnTo>
                    <a:pt x="495022" y="966229"/>
                  </a:lnTo>
                  <a:cubicBezTo>
                    <a:pt x="415894" y="966229"/>
                    <a:pt x="300799" y="966229"/>
                    <a:pt x="133389" y="966229"/>
                  </a:cubicBezTo>
                  <a:cubicBezTo>
                    <a:pt x="27714" y="745856"/>
                    <a:pt x="-7511" y="529891"/>
                    <a:pt x="1295" y="330086"/>
                  </a:cubicBezTo>
                  <a:cubicBezTo>
                    <a:pt x="1295" y="330086"/>
                    <a:pt x="1295" y="330086"/>
                    <a:pt x="359491" y="330086"/>
                  </a:cubicBezTo>
                  <a:lnTo>
                    <a:pt x="439580" y="330086"/>
                  </a:lnTo>
                  <a:cubicBezTo>
                    <a:pt x="439580" y="330086"/>
                    <a:pt x="439580" y="330086"/>
                    <a:pt x="439580" y="162843"/>
                  </a:cubicBezTo>
                  <a:cubicBezTo>
                    <a:pt x="439580" y="162843"/>
                    <a:pt x="439580" y="162843"/>
                    <a:pt x="432237" y="133502"/>
                  </a:cubicBezTo>
                  <a:cubicBezTo>
                    <a:pt x="426362" y="118831"/>
                    <a:pt x="421956" y="110029"/>
                    <a:pt x="410207" y="95358"/>
                  </a:cubicBezTo>
                  <a:cubicBezTo>
                    <a:pt x="402863" y="83622"/>
                    <a:pt x="398457" y="71886"/>
                    <a:pt x="399926" y="57215"/>
                  </a:cubicBezTo>
                  <a:cubicBezTo>
                    <a:pt x="399926" y="24940"/>
                    <a:pt x="429299" y="0"/>
                    <a:pt x="466016" y="0"/>
                  </a:cubicBezTo>
                  <a:close/>
                </a:path>
              </a:pathLst>
            </a:custGeom>
            <a:solidFill>
              <a:srgbClr val="646464"/>
            </a:solidFill>
            <a:ln>
              <a:noFill/>
            </a:ln>
          </p:spPr>
          <p:txBody>
            <a:bodyPr vert="horz" wrap="square" lIns="91440" tIns="45720" rIns="91440" bIns="45720" numCol="1" anchor="t" anchorCtr="0" compatLnSpc="1">
              <a:prstTxWarp prst="textNoShape">
                <a:avLst/>
              </a:prstTxWarp>
              <a:noAutofit/>
            </a:bodyPr>
            <a:lstStyle/>
            <a:p>
              <a:pPr marL="0" marR="0" lvl="0" indent="0" defTabSz="1042526" eaLnBrk="1" fontAlgn="auto" latinLnBrk="0" hangingPunct="1">
                <a:lnSpc>
                  <a:spcPct val="100000"/>
                </a:lnSpc>
                <a:spcBef>
                  <a:spcPts val="0"/>
                </a:spcBef>
                <a:spcAft>
                  <a:spcPts val="0"/>
                </a:spcAft>
                <a:buClrTx/>
                <a:buSzTx/>
                <a:buFontTx/>
                <a:buNone/>
                <a:tabLst/>
                <a:defRPr/>
              </a:pPr>
              <a:endParaRPr kumimoji="0" lang="en-US" sz="2100" b="0" i="0" u="none" strike="noStrike" kern="0" cap="none" spc="0" normalizeH="0" baseline="0" noProof="0">
                <a:ln>
                  <a:noFill/>
                </a:ln>
                <a:solidFill>
                  <a:srgbClr val="404040"/>
                </a:solidFill>
                <a:effectLst/>
                <a:uLnTx/>
                <a:uFillTx/>
                <a:latin typeface="Tahoma"/>
              </a:endParaRPr>
            </a:p>
          </p:txBody>
        </p:sp>
      </p:grpSp>
      <p:sp>
        <p:nvSpPr>
          <p:cNvPr id="34" name="Rechteck 33">
            <a:extLst>
              <a:ext uri="{FF2B5EF4-FFF2-40B4-BE49-F238E27FC236}">
                <a16:creationId xmlns:a16="http://schemas.microsoft.com/office/drawing/2014/main" id="{42E4CF6A-7B05-BD45-B2CF-B5F471BCEA47}"/>
              </a:ext>
            </a:extLst>
          </p:cNvPr>
          <p:cNvSpPr/>
          <p:nvPr/>
        </p:nvSpPr>
        <p:spPr bwMode="auto">
          <a:xfrm>
            <a:off x="4713812" y="970928"/>
            <a:ext cx="7181224" cy="666927"/>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none" lIns="115082" tIns="57890" rIns="113166" bIns="57890" numCol="1" rtlCol="0" anchor="ctr" anchorCtr="0" compatLnSpc="1">
            <a:prstTxWarp prst="textNoShape">
              <a:avLst/>
            </a:prstTxWarp>
          </a:bodyPr>
          <a:lstStyle/>
          <a:p>
            <a:pPr marL="0" marR="0" lvl="0" indent="0" algn="ctr" defTabSz="1097226" eaLnBrk="1" fontAlgn="base" latinLnBrk="0" hangingPunct="1">
              <a:lnSpc>
                <a:spcPct val="100000"/>
              </a:lnSpc>
              <a:spcBef>
                <a:spcPct val="0"/>
              </a:spcBef>
              <a:spcAft>
                <a:spcPct val="0"/>
              </a:spcAft>
              <a:buClr>
                <a:srgbClr val="FF8000"/>
              </a:buClr>
              <a:buSzPct val="75000"/>
              <a:buFontTx/>
              <a:buNone/>
              <a:tabLst/>
              <a:defRPr/>
            </a:pPr>
            <a:endParaRPr kumimoji="0" lang="de-DE" sz="1984" b="0" i="0" u="none" strike="noStrike" kern="0" cap="none" spc="0" normalizeH="0" baseline="0" noProof="0">
              <a:ln>
                <a:noFill/>
              </a:ln>
              <a:solidFill>
                <a:srgbClr val="646464"/>
              </a:solidFill>
              <a:effectLst/>
              <a:uLnTx/>
              <a:uFillTx/>
              <a:latin typeface="Arial" charset="0"/>
            </a:endParaRPr>
          </a:p>
        </p:txBody>
      </p:sp>
      <p:sp>
        <p:nvSpPr>
          <p:cNvPr id="35" name="Textfeld 34">
            <a:extLst>
              <a:ext uri="{FF2B5EF4-FFF2-40B4-BE49-F238E27FC236}">
                <a16:creationId xmlns:a16="http://schemas.microsoft.com/office/drawing/2014/main" id="{C4C7A224-64EA-7A40-BE41-CD78C301E8D2}"/>
              </a:ext>
            </a:extLst>
          </p:cNvPr>
          <p:cNvSpPr txBox="1"/>
          <p:nvPr/>
        </p:nvSpPr>
        <p:spPr>
          <a:xfrm>
            <a:off x="5281318" y="945352"/>
            <a:ext cx="6707706" cy="703013"/>
          </a:xfrm>
          <a:prstGeom prst="rect">
            <a:avLst/>
          </a:prstGeom>
        </p:spPr>
        <p:txBody>
          <a:bodyPr wrap="square" rtlCol="0">
            <a:spAutoFit/>
          </a:bodyPr>
          <a:lstStyle>
            <a:defPPr>
              <a:defRPr lang="de-DE"/>
            </a:defPPr>
            <a:lvl1pPr defTabSz="1007978">
              <a:spcBef>
                <a:spcPts val="662"/>
              </a:spcBef>
              <a:defRPr sz="1984" b="1" kern="0">
                <a:solidFill>
                  <a:srgbClr val="FFFFFF">
                    <a:lumMod val="50000"/>
                  </a:srgbClr>
                </a:solidFill>
                <a:latin typeface="Tahoma"/>
              </a:defRPr>
            </a:lvl1pPr>
          </a:lstStyle>
          <a:p>
            <a:r>
              <a:rPr lang="de-DE" dirty="0"/>
              <a:t>„Bildung ist nicht das Befüllen von Fässern, sondern das Entzünden von Flammen.“ (Heraklit)</a:t>
            </a:r>
          </a:p>
        </p:txBody>
      </p:sp>
      <p:sp>
        <p:nvSpPr>
          <p:cNvPr id="36" name="Textfeld 35">
            <a:extLst>
              <a:ext uri="{FF2B5EF4-FFF2-40B4-BE49-F238E27FC236}">
                <a16:creationId xmlns:a16="http://schemas.microsoft.com/office/drawing/2014/main" id="{0FB6611A-54F0-6949-AB7C-96DBBDE303CF}"/>
              </a:ext>
            </a:extLst>
          </p:cNvPr>
          <p:cNvSpPr txBox="1"/>
          <p:nvPr/>
        </p:nvSpPr>
        <p:spPr>
          <a:xfrm>
            <a:off x="4682278" y="1832858"/>
            <a:ext cx="7244291" cy="797082"/>
          </a:xfrm>
          <a:prstGeom prst="rect">
            <a:avLst/>
          </a:prstGeom>
        </p:spPr>
        <p:txBody>
          <a:bodyPr wrap="square" rtlCol="0">
            <a:noAutofit/>
          </a:bodyPr>
          <a:lstStyle/>
          <a:p>
            <a:pPr>
              <a:defRPr/>
            </a:pPr>
            <a:r>
              <a:rPr lang="de-DE" sz="1600" b="1" dirty="0">
                <a:solidFill>
                  <a:schemeClr val="tx2"/>
                </a:solidFill>
                <a:latin typeface="Tahoma" panose="020B0604030504040204" pitchFamily="34" charset="0"/>
                <a:ea typeface="Tahoma" panose="020B0604030504040204" pitchFamily="34" charset="0"/>
                <a:cs typeface="Tahoma" panose="020B0604030504040204" pitchFamily="34" charset="0"/>
              </a:rPr>
              <a:t>Selbstkompetenz</a:t>
            </a:r>
            <a:r>
              <a:rPr lang="de-DE" sz="1600" b="1" dirty="0">
                <a:latin typeface="Tahoma" panose="020B0604030504040204" pitchFamily="34" charset="0"/>
                <a:ea typeface="Tahoma" panose="020B0604030504040204" pitchFamily="34" charset="0"/>
                <a:cs typeface="Tahoma" panose="020B0604030504040204" pitchFamily="34" charset="0"/>
              </a:rPr>
              <a:t> </a:t>
            </a:r>
          </a:p>
          <a:p>
            <a:pPr>
              <a:defRPr/>
            </a:pPr>
            <a:r>
              <a:rPr lang="de-DE" sz="1600"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Selbstwahrnehmung . Kreativität und Phantasie . Urteilsfähigkeit . Entscheidungs- und Organisationsfähigkeit . Positives Selbstkonzept.</a:t>
            </a:r>
          </a:p>
          <a:p>
            <a:pPr defTabSz="1007978"/>
            <a:endParaRPr lang="de-DE" sz="1400" kern="0" dirty="0">
              <a:solidFill>
                <a:srgbClr val="404040"/>
              </a:solidFill>
              <a:latin typeface="Tahoma" panose="020B0604030504040204" pitchFamily="34" charset="0"/>
              <a:ea typeface="Tahoma" panose="020B0604030504040204" pitchFamily="34" charset="0"/>
              <a:cs typeface="Tahoma" panose="020B0604030504040204" pitchFamily="34" charset="0"/>
            </a:endParaRPr>
          </a:p>
          <a:p>
            <a:pPr marL="283486" indent="-283486" defTabSz="1007978">
              <a:buFont typeface="Arial" charset="0"/>
              <a:buChar char="•"/>
            </a:pPr>
            <a:endParaRPr lang="de-DE" sz="1400" kern="0" dirty="0">
              <a:solidFill>
                <a:srgbClr val="404040"/>
              </a:solidFill>
              <a:latin typeface="Tahoma" panose="020B0604030504040204" pitchFamily="34" charset="0"/>
              <a:ea typeface="Tahoma" panose="020B0604030504040204" pitchFamily="34" charset="0"/>
              <a:cs typeface="Tahoma" panose="020B0604030504040204" pitchFamily="34" charset="0"/>
            </a:endParaRPr>
          </a:p>
          <a:p>
            <a:pPr marL="283486" indent="-283486" defTabSz="1007978">
              <a:buFont typeface="Arial" charset="0"/>
              <a:buChar char="•"/>
            </a:pPr>
            <a:endParaRPr lang="de-DE" sz="1400" b="1" kern="0" dirty="0">
              <a:solidFill>
                <a:srgbClr val="404040"/>
              </a:solidFill>
              <a:latin typeface="Tahoma" panose="020B0604030504040204" pitchFamily="34" charset="0"/>
              <a:ea typeface="Tahoma" panose="020B0604030504040204" pitchFamily="34" charset="0"/>
              <a:cs typeface="Tahoma" panose="020B0604030504040204" pitchFamily="34" charset="0"/>
            </a:endParaRPr>
          </a:p>
          <a:p>
            <a:pPr marL="283486" indent="-283486" defTabSz="1007978">
              <a:buFont typeface="Arial" charset="0"/>
              <a:buChar char="•"/>
            </a:pPr>
            <a:endParaRPr lang="de-DE" sz="1400" b="1" kern="0" dirty="0">
              <a:solidFill>
                <a:srgbClr val="404040"/>
              </a:solidFill>
              <a:latin typeface="Tahoma" panose="020B0604030504040204" pitchFamily="34" charset="0"/>
              <a:ea typeface="Tahoma" panose="020B0604030504040204" pitchFamily="34" charset="0"/>
              <a:cs typeface="Tahoma" panose="020B0604030504040204" pitchFamily="34" charset="0"/>
            </a:endParaRPr>
          </a:p>
          <a:p>
            <a:pPr marL="283486" indent="-283486" defTabSz="1007978">
              <a:buFont typeface="Arial" charset="0"/>
              <a:buChar char="•"/>
            </a:pPr>
            <a:endParaRPr lang="de-DE" sz="1400" b="1" kern="0" dirty="0">
              <a:solidFill>
                <a:srgbClr val="404040"/>
              </a:solidFill>
              <a:latin typeface="Tahoma" panose="020B0604030504040204" pitchFamily="34" charset="0"/>
              <a:ea typeface="Tahoma" panose="020B0604030504040204" pitchFamily="34" charset="0"/>
              <a:cs typeface="Tahoma" panose="020B0604030504040204" pitchFamily="34" charset="0"/>
            </a:endParaRPr>
          </a:p>
          <a:p>
            <a:pPr marL="283486" indent="-283486" defTabSz="1007978">
              <a:buFont typeface="Arial" charset="0"/>
              <a:buChar char="•"/>
            </a:pPr>
            <a:endParaRPr lang="de-DE" sz="1400" b="1" kern="0" dirty="0">
              <a:solidFill>
                <a:srgbClr val="404040"/>
              </a:solidFill>
              <a:latin typeface="Tahoma" panose="020B0604030504040204" pitchFamily="34" charset="0"/>
              <a:ea typeface="Tahoma" panose="020B0604030504040204" pitchFamily="34" charset="0"/>
              <a:cs typeface="Tahoma" panose="020B0604030504040204" pitchFamily="34" charset="0"/>
            </a:endParaRPr>
          </a:p>
        </p:txBody>
      </p:sp>
      <p:sp>
        <p:nvSpPr>
          <p:cNvPr id="37" name="Textfeld 36">
            <a:extLst>
              <a:ext uri="{FF2B5EF4-FFF2-40B4-BE49-F238E27FC236}">
                <a16:creationId xmlns:a16="http://schemas.microsoft.com/office/drawing/2014/main" id="{6079C010-8912-E74E-95E0-3C088D58D8CD}"/>
              </a:ext>
            </a:extLst>
          </p:cNvPr>
          <p:cNvSpPr txBox="1"/>
          <p:nvPr/>
        </p:nvSpPr>
        <p:spPr>
          <a:xfrm>
            <a:off x="4682278" y="3120207"/>
            <a:ext cx="7244291" cy="1125512"/>
          </a:xfrm>
          <a:prstGeom prst="rect">
            <a:avLst/>
          </a:prstGeom>
        </p:spPr>
        <p:txBody>
          <a:bodyPr wrap="square" rtlCol="0">
            <a:noAutofit/>
          </a:bodyPr>
          <a:lstStyle/>
          <a:p>
            <a:pPr>
              <a:defRPr/>
            </a:pPr>
            <a:r>
              <a:rPr lang="de-DE" sz="1600" b="1" dirty="0">
                <a:solidFill>
                  <a:schemeClr val="tx2"/>
                </a:solidFill>
                <a:latin typeface="Tahoma" panose="020B0604030504040204" pitchFamily="34" charset="0"/>
                <a:ea typeface="Tahoma" panose="020B0604030504040204" pitchFamily="34" charset="0"/>
                <a:cs typeface="Tahoma" panose="020B0604030504040204" pitchFamily="34" charset="0"/>
              </a:rPr>
              <a:t>Sozialkompetenz</a:t>
            </a:r>
            <a:r>
              <a:rPr lang="de-DE" sz="1600" b="1" dirty="0">
                <a:latin typeface="Tahoma" panose="020B0604030504040204" pitchFamily="34" charset="0"/>
                <a:ea typeface="Tahoma" panose="020B0604030504040204" pitchFamily="34" charset="0"/>
                <a:cs typeface="Tahoma" panose="020B0604030504040204" pitchFamily="34" charset="0"/>
              </a:rPr>
              <a:t> </a:t>
            </a:r>
          </a:p>
          <a:p>
            <a:pPr>
              <a:defRPr/>
            </a:pPr>
            <a:r>
              <a:rPr lang="de-DE" sz="1600"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Eigene Interessen in der sozialen Interaktion . Empathie . Vorurteile überwinden . Konfliktfähigkeit . Verantwortung . Kommunikationsfähigkeit . Kooperationsfähigkeit . Interkulturelle Kompetenz und Rollenkompetenz.</a:t>
            </a:r>
            <a:endParaRPr lang="de-DE" sz="1400" kern="0"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endParaRPr>
          </a:p>
          <a:p>
            <a:pPr marL="283486" indent="-283486" defTabSz="1007978">
              <a:buFont typeface="Arial" charset="0"/>
              <a:buChar char="•"/>
            </a:pPr>
            <a:endParaRPr lang="de-DE" sz="1400" b="1" kern="0" dirty="0">
              <a:solidFill>
                <a:srgbClr val="404040"/>
              </a:solidFill>
              <a:latin typeface="Tahoma" panose="020B0604030504040204" pitchFamily="34" charset="0"/>
              <a:ea typeface="Tahoma" panose="020B0604030504040204" pitchFamily="34" charset="0"/>
              <a:cs typeface="Tahoma" panose="020B0604030504040204" pitchFamily="34" charset="0"/>
            </a:endParaRPr>
          </a:p>
          <a:p>
            <a:pPr marL="283486" indent="-283486" defTabSz="1007978">
              <a:buFont typeface="Arial" charset="0"/>
              <a:buChar char="•"/>
            </a:pPr>
            <a:endParaRPr lang="de-DE" sz="1400" b="1" kern="0" dirty="0">
              <a:solidFill>
                <a:srgbClr val="404040"/>
              </a:solidFill>
              <a:latin typeface="Tahoma" panose="020B0604030504040204" pitchFamily="34" charset="0"/>
              <a:ea typeface="Tahoma" panose="020B0604030504040204" pitchFamily="34" charset="0"/>
              <a:cs typeface="Tahoma" panose="020B0604030504040204" pitchFamily="34" charset="0"/>
            </a:endParaRPr>
          </a:p>
          <a:p>
            <a:pPr marL="283486" indent="-283486" defTabSz="1007978">
              <a:buFont typeface="Arial" charset="0"/>
              <a:buChar char="•"/>
            </a:pPr>
            <a:endParaRPr lang="de-DE" sz="1400" b="1" kern="0" dirty="0">
              <a:solidFill>
                <a:srgbClr val="404040"/>
              </a:solidFill>
              <a:latin typeface="Tahoma" panose="020B0604030504040204" pitchFamily="34" charset="0"/>
              <a:ea typeface="Tahoma" panose="020B0604030504040204" pitchFamily="34" charset="0"/>
              <a:cs typeface="Tahoma" panose="020B0604030504040204" pitchFamily="34" charset="0"/>
            </a:endParaRPr>
          </a:p>
          <a:p>
            <a:pPr marL="283486" indent="-283486" defTabSz="1007978">
              <a:buFont typeface="Arial" charset="0"/>
              <a:buChar char="•"/>
            </a:pPr>
            <a:endParaRPr lang="de-DE" sz="1400" b="1" kern="0" dirty="0">
              <a:solidFill>
                <a:srgbClr val="404040"/>
              </a:solidFill>
              <a:latin typeface="Tahoma" panose="020B0604030504040204" pitchFamily="34" charset="0"/>
              <a:ea typeface="Tahoma" panose="020B0604030504040204" pitchFamily="34" charset="0"/>
              <a:cs typeface="Tahoma" panose="020B0604030504040204" pitchFamily="34" charset="0"/>
            </a:endParaRPr>
          </a:p>
        </p:txBody>
      </p:sp>
      <p:sp>
        <p:nvSpPr>
          <p:cNvPr id="38" name="Textfeld 37">
            <a:extLst>
              <a:ext uri="{FF2B5EF4-FFF2-40B4-BE49-F238E27FC236}">
                <a16:creationId xmlns:a16="http://schemas.microsoft.com/office/drawing/2014/main" id="{22FC235D-0CE3-DD45-B380-2A1EBE16E260}"/>
              </a:ext>
            </a:extLst>
          </p:cNvPr>
          <p:cNvSpPr txBox="1"/>
          <p:nvPr/>
        </p:nvSpPr>
        <p:spPr>
          <a:xfrm>
            <a:off x="4682278" y="4735987"/>
            <a:ext cx="7244291" cy="1318360"/>
          </a:xfrm>
          <a:prstGeom prst="rect">
            <a:avLst/>
          </a:prstGeom>
        </p:spPr>
        <p:txBody>
          <a:bodyPr wrap="square" rtlCol="0">
            <a:noAutofit/>
          </a:bodyPr>
          <a:lstStyle/>
          <a:p>
            <a:pPr>
              <a:defRPr/>
            </a:pPr>
            <a:r>
              <a:rPr lang="de-DE" sz="1600" b="1" dirty="0">
                <a:solidFill>
                  <a:schemeClr val="tx2"/>
                </a:solidFill>
                <a:latin typeface="Tahoma" panose="020B0604030504040204" pitchFamily="34" charset="0"/>
                <a:ea typeface="Tahoma" panose="020B0604030504040204" pitchFamily="34" charset="0"/>
                <a:cs typeface="Tahoma" panose="020B0604030504040204" pitchFamily="34" charset="0"/>
              </a:rPr>
              <a:t>Sachkompetenz</a:t>
            </a:r>
            <a:r>
              <a:rPr lang="de-DE" sz="1600" dirty="0">
                <a:latin typeface="Tahoma" panose="020B0604030504040204" pitchFamily="34" charset="0"/>
                <a:ea typeface="Tahoma" panose="020B0604030504040204" pitchFamily="34" charset="0"/>
                <a:cs typeface="Tahoma" panose="020B0604030504040204" pitchFamily="34" charset="0"/>
              </a:rPr>
              <a:t> </a:t>
            </a:r>
          </a:p>
          <a:p>
            <a:pPr>
              <a:defRPr/>
            </a:pPr>
            <a:r>
              <a:rPr lang="de-DE" sz="1600"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Kommunikationsfähigkeit und Neugierde . Komplexität und Sinnzusammenhänge erfassen . Handhabung von Materialien, Techniken, Gegenständen und Werkzeugen . Mit allen Sinnen wahrnehmen . Wissen erwerben, anwenden und transferieren.</a:t>
            </a:r>
          </a:p>
          <a:p>
            <a:pPr defTabSz="1007978"/>
            <a:endParaRPr lang="de-DE" sz="1400" kern="0" dirty="0">
              <a:solidFill>
                <a:srgbClr val="404040"/>
              </a:solidFill>
              <a:latin typeface="Tahoma" panose="020B0604030504040204" pitchFamily="34" charset="0"/>
              <a:ea typeface="Tahoma" panose="020B0604030504040204" pitchFamily="34" charset="0"/>
              <a:cs typeface="Tahoma" panose="020B0604030504040204" pitchFamily="34" charset="0"/>
            </a:endParaRPr>
          </a:p>
          <a:p>
            <a:pPr marL="283486" indent="-283486" defTabSz="1007978">
              <a:buFont typeface="Arial" charset="0"/>
              <a:buChar char="•"/>
            </a:pPr>
            <a:endParaRPr lang="de-DE" sz="1400" kern="0" dirty="0">
              <a:solidFill>
                <a:srgbClr val="404040"/>
              </a:solidFill>
              <a:latin typeface="Tahoma" panose="020B0604030504040204" pitchFamily="34" charset="0"/>
              <a:ea typeface="Tahoma" panose="020B0604030504040204" pitchFamily="34" charset="0"/>
              <a:cs typeface="Tahoma" panose="020B0604030504040204" pitchFamily="34" charset="0"/>
            </a:endParaRPr>
          </a:p>
          <a:p>
            <a:pPr marL="283486" indent="-283486" defTabSz="1007978">
              <a:buFont typeface="Arial" charset="0"/>
              <a:buChar char="•"/>
            </a:pPr>
            <a:endParaRPr lang="de-DE" sz="1400" b="1" kern="0" dirty="0">
              <a:solidFill>
                <a:srgbClr val="404040"/>
              </a:solidFill>
              <a:latin typeface="Tahoma" panose="020B0604030504040204" pitchFamily="34" charset="0"/>
              <a:ea typeface="Tahoma" panose="020B0604030504040204" pitchFamily="34" charset="0"/>
              <a:cs typeface="Tahoma" panose="020B0604030504040204" pitchFamily="34" charset="0"/>
            </a:endParaRPr>
          </a:p>
          <a:p>
            <a:pPr marL="283486" indent="-283486" defTabSz="1007978">
              <a:buFont typeface="Arial" charset="0"/>
              <a:buChar char="•"/>
            </a:pPr>
            <a:endParaRPr lang="de-DE" sz="1400" b="1" kern="0" dirty="0">
              <a:solidFill>
                <a:srgbClr val="404040"/>
              </a:solidFill>
              <a:latin typeface="Tahoma" panose="020B0604030504040204" pitchFamily="34" charset="0"/>
              <a:ea typeface="Tahoma" panose="020B0604030504040204" pitchFamily="34" charset="0"/>
              <a:cs typeface="Tahoma" panose="020B0604030504040204" pitchFamily="34" charset="0"/>
            </a:endParaRPr>
          </a:p>
          <a:p>
            <a:pPr marL="283486" indent="-283486" defTabSz="1007978">
              <a:buFont typeface="Arial" charset="0"/>
              <a:buChar char="•"/>
            </a:pPr>
            <a:endParaRPr lang="de-DE" sz="1400" b="1" kern="0" dirty="0">
              <a:solidFill>
                <a:srgbClr val="404040"/>
              </a:solidFill>
              <a:latin typeface="Tahoma" panose="020B0604030504040204" pitchFamily="34" charset="0"/>
              <a:ea typeface="Tahoma" panose="020B0604030504040204" pitchFamily="34" charset="0"/>
              <a:cs typeface="Tahoma" panose="020B0604030504040204" pitchFamily="34" charset="0"/>
            </a:endParaRPr>
          </a:p>
          <a:p>
            <a:pPr marL="283486" indent="-283486" defTabSz="1007978">
              <a:buFont typeface="Arial" charset="0"/>
              <a:buChar char="•"/>
            </a:pPr>
            <a:endParaRPr lang="de-DE" sz="1400" b="1" kern="0" dirty="0">
              <a:solidFill>
                <a:srgbClr val="40404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9939704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Grafik 38" descr="Ein Bild, das Text enthält.&#10;&#10;Automatisch generierte Beschreibung">
            <a:extLst>
              <a:ext uri="{FF2B5EF4-FFF2-40B4-BE49-F238E27FC236}">
                <a16:creationId xmlns:a16="http://schemas.microsoft.com/office/drawing/2014/main" id="{910D0D19-7713-7541-BDAC-C40B57E8466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5614" y="158701"/>
            <a:ext cx="12355463" cy="1452196"/>
          </a:xfrm>
          <a:prstGeom prst="rect">
            <a:avLst/>
          </a:prstGeom>
        </p:spPr>
      </p:pic>
      <p:sp>
        <p:nvSpPr>
          <p:cNvPr id="21" name="Textplatzhalter 6">
            <a:extLst>
              <a:ext uri="{FF2B5EF4-FFF2-40B4-BE49-F238E27FC236}">
                <a16:creationId xmlns:a16="http://schemas.microsoft.com/office/drawing/2014/main" id="{968E711A-41C2-5D4B-B16A-E50C06BC3E9B}"/>
              </a:ext>
            </a:extLst>
          </p:cNvPr>
          <p:cNvSpPr txBox="1">
            <a:spLocks/>
          </p:cNvSpPr>
          <p:nvPr/>
        </p:nvSpPr>
        <p:spPr bwMode="auto">
          <a:xfrm>
            <a:off x="2350909" y="1753388"/>
            <a:ext cx="5331347" cy="4145843"/>
          </a:xfrm>
          <a:prstGeom prst="rect">
            <a:avLst/>
          </a:prstGeom>
          <a:solidFill>
            <a:srgbClr val="FFFFFF"/>
          </a:solidFill>
          <a:ln w="9525">
            <a:noFill/>
            <a:miter lim="800000"/>
            <a:headEnd/>
            <a:tailEnd/>
          </a:ln>
        </p:spPr>
        <p:txBody>
          <a:bodyPr vert="horz" wrap="square" lIns="142529" tIns="71265" rIns="89080" bIns="178163" numCol="1" anchor="t" anchorCtr="0" compatLnSpc="1">
            <a:prstTxWarp prst="textNoShape">
              <a:avLst/>
            </a:prstTxWarp>
            <a:noAutofit/>
          </a:bodyPr>
          <a:lstStyle>
            <a:lvl1pPr algn="l" rtl="0" fontAlgn="base">
              <a:spcBef>
                <a:spcPts val="200"/>
              </a:spcBef>
              <a:spcAft>
                <a:spcPct val="0"/>
              </a:spcAft>
              <a:buFont typeface="Arial" charset="0"/>
              <a:defRPr sz="1100" kern="1200">
                <a:solidFill>
                  <a:schemeClr val="tx1"/>
                </a:solidFill>
                <a:latin typeface="Verdana" pitchFamily="34" charset="0"/>
                <a:ea typeface="Verdana" pitchFamily="34" charset="0"/>
                <a:cs typeface="Verdana" pitchFamily="34" charset="0"/>
              </a:defRPr>
            </a:lvl1pPr>
            <a:lvl2pPr marL="180975" indent="-180975" algn="l" rtl="0" fontAlgn="base">
              <a:spcBef>
                <a:spcPts val="200"/>
              </a:spcBef>
              <a:spcAft>
                <a:spcPct val="0"/>
              </a:spcAft>
              <a:buFont typeface="Verdana" pitchFamily="34" charset="0"/>
              <a:buChar char="•"/>
              <a:defRPr sz="1100" kern="1200">
                <a:solidFill>
                  <a:schemeClr val="tx1"/>
                </a:solidFill>
                <a:latin typeface="Verdana" pitchFamily="34" charset="0"/>
                <a:ea typeface="Verdana" pitchFamily="34" charset="0"/>
                <a:cs typeface="Verdana" pitchFamily="34" charset="0"/>
              </a:defRPr>
            </a:lvl2pPr>
            <a:lvl3pPr marL="358775" indent="-177800" algn="l" rtl="0" fontAlgn="base">
              <a:spcBef>
                <a:spcPts val="200"/>
              </a:spcBef>
              <a:spcAft>
                <a:spcPct val="0"/>
              </a:spcAft>
              <a:buFont typeface="Symbol" pitchFamily="18" charset="2"/>
              <a:buChar char="-"/>
              <a:defRPr sz="1100" kern="1200">
                <a:solidFill>
                  <a:schemeClr val="tx1"/>
                </a:solidFill>
                <a:latin typeface="Verdana" pitchFamily="34" charset="0"/>
                <a:ea typeface="Verdana" pitchFamily="34" charset="0"/>
                <a:cs typeface="Verdana" pitchFamily="34" charset="0"/>
              </a:defRPr>
            </a:lvl3pPr>
            <a:lvl4pPr marL="542925" indent="-184150" algn="l" rtl="0" fontAlgn="base">
              <a:spcBef>
                <a:spcPts val="200"/>
              </a:spcBef>
              <a:spcAft>
                <a:spcPct val="0"/>
              </a:spcAft>
              <a:buFont typeface="Symbol" pitchFamily="18" charset="2"/>
              <a:buChar char="-"/>
              <a:defRPr sz="1100" kern="1200">
                <a:solidFill>
                  <a:schemeClr val="tx1"/>
                </a:solidFill>
                <a:latin typeface="Verdana" pitchFamily="34" charset="0"/>
                <a:ea typeface="Verdana" pitchFamily="34" charset="0"/>
                <a:cs typeface="Verdana" pitchFamily="34" charset="0"/>
              </a:defRPr>
            </a:lvl4pPr>
            <a:lvl5pPr marL="717550" indent="-177800" algn="l" rtl="0" fontAlgn="base">
              <a:spcBef>
                <a:spcPts val="200"/>
              </a:spcBef>
              <a:spcAft>
                <a:spcPct val="0"/>
              </a:spcAft>
              <a:buFont typeface="Symbol" pitchFamily="18" charset="2"/>
              <a:buChar char="-"/>
              <a:defRPr sz="11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1" indent="-342900" defTabSz="913895">
              <a:spcBef>
                <a:spcPts val="900"/>
              </a:spcBef>
              <a:spcAft>
                <a:spcPts val="900"/>
              </a:spcAft>
              <a:buSzPct val="100000"/>
              <a:buFont typeface="+mj-lt"/>
              <a:buAutoNum type="arabicPeriod"/>
            </a:pPr>
            <a:r>
              <a:rPr lang="de-DE" sz="1600" dirty="0">
                <a:solidFill>
                  <a:schemeClr val="tx1">
                    <a:lumMod val="65000"/>
                    <a:lumOff val="35000"/>
                  </a:schemeClr>
                </a:solidFill>
                <a:latin typeface="Tahoma"/>
              </a:rPr>
              <a:t>Bewegung </a:t>
            </a:r>
          </a:p>
          <a:p>
            <a:pPr marL="342900" lvl="1" indent="-342900" defTabSz="913895">
              <a:spcBef>
                <a:spcPts val="900"/>
              </a:spcBef>
              <a:spcAft>
                <a:spcPts val="900"/>
              </a:spcAft>
              <a:buSzPct val="100000"/>
              <a:buFont typeface="+mj-lt"/>
              <a:buAutoNum type="arabicPeriod"/>
            </a:pPr>
            <a:r>
              <a:rPr lang="de-DE" sz="1600" dirty="0">
                <a:solidFill>
                  <a:schemeClr val="tx1">
                    <a:lumMod val="65000"/>
                    <a:lumOff val="35000"/>
                  </a:schemeClr>
                </a:solidFill>
                <a:latin typeface="Tahoma"/>
              </a:rPr>
              <a:t>Körper, Gesundheit und Ernährung </a:t>
            </a:r>
          </a:p>
          <a:p>
            <a:pPr marL="342900" lvl="1" indent="-342900" defTabSz="913895">
              <a:spcBef>
                <a:spcPts val="900"/>
              </a:spcBef>
              <a:spcAft>
                <a:spcPts val="900"/>
              </a:spcAft>
              <a:buSzPct val="100000"/>
              <a:buFont typeface="+mj-lt"/>
              <a:buAutoNum type="arabicPeriod"/>
            </a:pPr>
            <a:r>
              <a:rPr lang="de-DE" sz="1600" dirty="0">
                <a:solidFill>
                  <a:schemeClr val="tx1">
                    <a:lumMod val="65000"/>
                    <a:lumOff val="35000"/>
                  </a:schemeClr>
                </a:solidFill>
                <a:latin typeface="Tahoma"/>
              </a:rPr>
              <a:t>Sprache und Kommunikation </a:t>
            </a:r>
          </a:p>
          <a:p>
            <a:pPr marL="342900" lvl="1" indent="-342900" defTabSz="913895">
              <a:spcBef>
                <a:spcPts val="900"/>
              </a:spcBef>
              <a:spcAft>
                <a:spcPts val="900"/>
              </a:spcAft>
              <a:buSzPct val="100000"/>
              <a:buFont typeface="+mj-lt"/>
              <a:buAutoNum type="arabicPeriod"/>
            </a:pPr>
            <a:r>
              <a:rPr lang="de-DE" sz="1600" dirty="0">
                <a:solidFill>
                  <a:schemeClr val="tx1">
                    <a:lumMod val="65000"/>
                    <a:lumOff val="35000"/>
                  </a:schemeClr>
                </a:solidFill>
                <a:latin typeface="Tahoma"/>
              </a:rPr>
              <a:t>Soziale, kulturelle und interkulturelle Bildung </a:t>
            </a:r>
          </a:p>
          <a:p>
            <a:pPr marL="342900" lvl="1" indent="-342900" defTabSz="913895">
              <a:spcBef>
                <a:spcPts val="900"/>
              </a:spcBef>
              <a:spcAft>
                <a:spcPts val="900"/>
              </a:spcAft>
              <a:buSzPct val="100000"/>
              <a:buFont typeface="+mj-lt"/>
              <a:buAutoNum type="arabicPeriod"/>
            </a:pPr>
            <a:r>
              <a:rPr lang="de-DE" sz="1600" dirty="0">
                <a:solidFill>
                  <a:schemeClr val="tx1">
                    <a:lumMod val="65000"/>
                    <a:lumOff val="35000"/>
                  </a:schemeClr>
                </a:solidFill>
                <a:latin typeface="Tahoma"/>
              </a:rPr>
              <a:t>Musisch-ästhetische Bildung </a:t>
            </a:r>
          </a:p>
          <a:p>
            <a:pPr marL="342900" lvl="1" indent="-342900" defTabSz="913895">
              <a:spcBef>
                <a:spcPts val="900"/>
              </a:spcBef>
              <a:spcAft>
                <a:spcPts val="900"/>
              </a:spcAft>
              <a:buSzPct val="100000"/>
              <a:buFont typeface="+mj-lt"/>
              <a:buAutoNum type="arabicPeriod"/>
            </a:pPr>
            <a:r>
              <a:rPr lang="de-DE" sz="1600" dirty="0">
                <a:solidFill>
                  <a:schemeClr val="tx1">
                    <a:lumMod val="65000"/>
                    <a:lumOff val="35000"/>
                  </a:schemeClr>
                </a:solidFill>
                <a:latin typeface="Tahoma"/>
              </a:rPr>
              <a:t>Religiöse und ethische Bildung </a:t>
            </a:r>
          </a:p>
          <a:p>
            <a:pPr marL="342900" lvl="1" indent="-342900" defTabSz="913895">
              <a:spcBef>
                <a:spcPts val="900"/>
              </a:spcBef>
              <a:spcAft>
                <a:spcPts val="900"/>
              </a:spcAft>
              <a:buSzPct val="100000"/>
              <a:buFont typeface="+mj-lt"/>
              <a:buAutoNum type="arabicPeriod"/>
            </a:pPr>
            <a:r>
              <a:rPr lang="de-DE" sz="1600" dirty="0">
                <a:solidFill>
                  <a:schemeClr val="tx1">
                    <a:lumMod val="65000"/>
                    <a:lumOff val="35000"/>
                  </a:schemeClr>
                </a:solidFill>
                <a:latin typeface="Tahoma"/>
              </a:rPr>
              <a:t>Mathematische Bildung </a:t>
            </a:r>
          </a:p>
          <a:p>
            <a:pPr marL="342900" lvl="1" indent="-342900" defTabSz="913895">
              <a:spcBef>
                <a:spcPts val="900"/>
              </a:spcBef>
              <a:spcAft>
                <a:spcPts val="900"/>
              </a:spcAft>
              <a:buSzPct val="100000"/>
              <a:buFont typeface="+mj-lt"/>
              <a:buAutoNum type="arabicPeriod"/>
            </a:pPr>
            <a:r>
              <a:rPr lang="de-DE" sz="1600" dirty="0">
                <a:solidFill>
                  <a:schemeClr val="tx1">
                    <a:lumMod val="65000"/>
                    <a:lumOff val="35000"/>
                  </a:schemeClr>
                </a:solidFill>
                <a:latin typeface="Tahoma"/>
              </a:rPr>
              <a:t>Naturwissenschaftliche und technische Bildung </a:t>
            </a:r>
          </a:p>
          <a:p>
            <a:pPr marL="342900" lvl="1" indent="-342900" defTabSz="913895">
              <a:spcBef>
                <a:spcPts val="900"/>
              </a:spcBef>
              <a:spcAft>
                <a:spcPts val="900"/>
              </a:spcAft>
              <a:buSzPct val="100000"/>
              <a:buFont typeface="+mj-lt"/>
              <a:buAutoNum type="arabicPeriod"/>
            </a:pPr>
            <a:r>
              <a:rPr lang="de-DE" sz="1600" dirty="0">
                <a:solidFill>
                  <a:schemeClr val="tx1">
                    <a:lumMod val="65000"/>
                    <a:lumOff val="35000"/>
                  </a:schemeClr>
                </a:solidFill>
                <a:latin typeface="Tahoma"/>
              </a:rPr>
              <a:t>Ökologische Bildung </a:t>
            </a:r>
          </a:p>
          <a:p>
            <a:pPr marL="342900" lvl="1" indent="-342900" defTabSz="913895">
              <a:spcBef>
                <a:spcPts val="900"/>
              </a:spcBef>
              <a:spcAft>
                <a:spcPts val="900"/>
              </a:spcAft>
              <a:buSzPct val="100000"/>
              <a:buFont typeface="+mj-lt"/>
              <a:buAutoNum type="arabicPeriod"/>
            </a:pPr>
            <a:r>
              <a:rPr lang="de-DE" sz="1600" dirty="0">
                <a:solidFill>
                  <a:schemeClr val="tx1">
                    <a:lumMod val="65000"/>
                    <a:lumOff val="35000"/>
                  </a:schemeClr>
                </a:solidFill>
                <a:latin typeface="Tahoma"/>
              </a:rPr>
              <a:t> Medien</a:t>
            </a:r>
          </a:p>
        </p:txBody>
      </p:sp>
      <p:sp>
        <p:nvSpPr>
          <p:cNvPr id="22" name="Rechteck 23">
            <a:extLst>
              <a:ext uri="{FF2B5EF4-FFF2-40B4-BE49-F238E27FC236}">
                <a16:creationId xmlns:a16="http://schemas.microsoft.com/office/drawing/2014/main" id="{1E4D7F67-72A7-5547-8971-86B1CCA7ECC9}"/>
              </a:ext>
            </a:extLst>
          </p:cNvPr>
          <p:cNvSpPr/>
          <p:nvPr/>
        </p:nvSpPr>
        <p:spPr bwMode="auto">
          <a:xfrm>
            <a:off x="1942993" y="1693849"/>
            <a:ext cx="8258164" cy="4662461"/>
          </a:xfrm>
          <a:prstGeom prst="rect">
            <a:avLst/>
          </a:prstGeom>
          <a:noFill/>
          <a:ln w="18860" cap="flat" cmpd="sng" algn="ctr">
            <a:solidFill>
              <a:srgbClr val="004080"/>
            </a:solidFill>
            <a:prstDash val="solid"/>
            <a:round/>
            <a:headEnd type="none" w="med" len="med"/>
            <a:tailEnd type="none" w="med" len="med"/>
          </a:ln>
          <a:effectLst/>
        </p:spPr>
        <p:txBody>
          <a:bodyPr vert="horz" wrap="none" lIns="103334" tIns="51980" rIns="101615" bIns="51980" numCol="1" rtlCol="0" anchor="ctr" anchorCtr="0" compatLnSpc="1">
            <a:prstTxWarp prst="textNoShape">
              <a:avLst/>
            </a:prstTxWarp>
          </a:bodyPr>
          <a:lstStyle/>
          <a:p>
            <a:pPr marL="0" marR="0" lvl="0" indent="0" algn="ctr" defTabSz="995164" eaLnBrk="1" fontAlgn="base" latinLnBrk="0" hangingPunct="1">
              <a:lnSpc>
                <a:spcPct val="100000"/>
              </a:lnSpc>
              <a:spcBef>
                <a:spcPct val="0"/>
              </a:spcBef>
              <a:spcAft>
                <a:spcPct val="0"/>
              </a:spcAft>
              <a:buClr>
                <a:srgbClr val="FF8000"/>
              </a:buClr>
              <a:buSzPct val="75000"/>
              <a:buFontTx/>
              <a:buNone/>
              <a:tabLst/>
              <a:defRPr/>
            </a:pPr>
            <a:endParaRPr kumimoji="0" lang="de-DE" sz="2100" b="0" i="0" u="none" strike="noStrike" kern="0" cap="none" spc="0" normalizeH="0" baseline="0" noProof="0" dirty="0">
              <a:ln>
                <a:noFill/>
              </a:ln>
              <a:solidFill>
                <a:srgbClr val="646464"/>
              </a:solidFill>
              <a:effectLst/>
              <a:uLnTx/>
              <a:uFillTx/>
              <a:latin typeface="Arial" charset="0"/>
            </a:endParaRPr>
          </a:p>
        </p:txBody>
      </p:sp>
      <p:grpSp>
        <p:nvGrpSpPr>
          <p:cNvPr id="35" name="Gruppieren 34">
            <a:extLst>
              <a:ext uri="{FF2B5EF4-FFF2-40B4-BE49-F238E27FC236}">
                <a16:creationId xmlns:a16="http://schemas.microsoft.com/office/drawing/2014/main" id="{DAFEE225-9DCB-244A-9033-722ECFC654D6}"/>
              </a:ext>
            </a:extLst>
          </p:cNvPr>
          <p:cNvGrpSpPr/>
          <p:nvPr/>
        </p:nvGrpSpPr>
        <p:grpSpPr>
          <a:xfrm>
            <a:off x="9446160" y="1740492"/>
            <a:ext cx="707843" cy="535676"/>
            <a:chOff x="9517239" y="1171212"/>
            <a:chExt cx="707843" cy="535676"/>
          </a:xfrm>
        </p:grpSpPr>
        <p:sp>
          <p:nvSpPr>
            <p:cNvPr id="25" name="Text Box 41">
              <a:extLst>
                <a:ext uri="{FF2B5EF4-FFF2-40B4-BE49-F238E27FC236}">
                  <a16:creationId xmlns:a16="http://schemas.microsoft.com/office/drawing/2014/main" id="{277B8D24-BB7C-0845-BEB8-60009898E733}"/>
                </a:ext>
              </a:extLst>
            </p:cNvPr>
            <p:cNvSpPr txBox="1">
              <a:spLocks noChangeArrowheads="1"/>
            </p:cNvSpPr>
            <p:nvPr>
              <p:custDataLst>
                <p:tags r:id="rId1"/>
              </p:custDataLst>
            </p:nvPr>
          </p:nvSpPr>
          <p:spPr bwMode="auto">
            <a:xfrm>
              <a:off x="9517239" y="1171212"/>
              <a:ext cx="707843" cy="535676"/>
            </a:xfrm>
            <a:prstGeom prst="rect">
              <a:avLst/>
            </a:prstGeom>
            <a:solidFill>
              <a:srgbClr val="004080"/>
            </a:solidFill>
            <a:ln w="9430" cap="flat" cmpd="sng" algn="ctr">
              <a:solidFill>
                <a:srgbClr val="004080"/>
              </a:solidFill>
              <a:prstDash val="solid"/>
              <a:miter lim="800000"/>
              <a:headEnd type="none" w="med" len="med"/>
              <a:tailEnd type="none" w="med" len="med"/>
            </a:ln>
          </p:spPr>
          <p:txBody>
            <a:bodyPr lIns="0" tIns="71265" rIns="0" bIns="71265" anchor="ctr"/>
            <a:lstStyle>
              <a:lvl1pPr marL="266700">
                <a:defRPr sz="1000">
                  <a:solidFill>
                    <a:schemeClr val="tx1"/>
                  </a:solidFill>
                  <a:latin typeface="Verdana" pitchFamily="34" charset="0"/>
                  <a:cs typeface="Arial" charset="0"/>
                </a:defRPr>
              </a:lvl1pPr>
              <a:lvl2pPr marL="742950" indent="-285750">
                <a:defRPr sz="1000">
                  <a:solidFill>
                    <a:schemeClr val="tx1"/>
                  </a:solidFill>
                  <a:latin typeface="Verdana" pitchFamily="34" charset="0"/>
                  <a:cs typeface="Arial" charset="0"/>
                </a:defRPr>
              </a:lvl2pPr>
              <a:lvl3pPr marL="1143000" indent="-228600">
                <a:defRPr sz="1000">
                  <a:solidFill>
                    <a:schemeClr val="tx1"/>
                  </a:solidFill>
                  <a:latin typeface="Verdana" pitchFamily="34" charset="0"/>
                  <a:cs typeface="Arial" charset="0"/>
                </a:defRPr>
              </a:lvl3pPr>
              <a:lvl4pPr marL="1600200" indent="-228600">
                <a:defRPr sz="1000">
                  <a:solidFill>
                    <a:schemeClr val="tx1"/>
                  </a:solidFill>
                  <a:latin typeface="Verdana" pitchFamily="34" charset="0"/>
                  <a:cs typeface="Arial" charset="0"/>
                </a:defRPr>
              </a:lvl4pPr>
              <a:lvl5pPr marL="2057400" indent="-228600">
                <a:defRPr sz="1000">
                  <a:solidFill>
                    <a:schemeClr val="tx1"/>
                  </a:solidFill>
                  <a:latin typeface="Verdana" pitchFamily="34" charset="0"/>
                  <a:cs typeface="Arial" charset="0"/>
                </a:defRPr>
              </a:lvl5pPr>
              <a:lvl6pPr marL="2514600" indent="-228600" eaLnBrk="0" fontAlgn="base" hangingPunct="0">
                <a:spcBef>
                  <a:spcPct val="50000"/>
                </a:spcBef>
                <a:spcAft>
                  <a:spcPct val="0"/>
                </a:spcAft>
                <a:defRPr sz="1000">
                  <a:solidFill>
                    <a:schemeClr val="tx1"/>
                  </a:solidFill>
                  <a:latin typeface="Verdana" pitchFamily="34" charset="0"/>
                  <a:cs typeface="Arial" charset="0"/>
                </a:defRPr>
              </a:lvl6pPr>
              <a:lvl7pPr marL="2971800" indent="-228600" eaLnBrk="0" fontAlgn="base" hangingPunct="0">
                <a:spcBef>
                  <a:spcPct val="50000"/>
                </a:spcBef>
                <a:spcAft>
                  <a:spcPct val="0"/>
                </a:spcAft>
                <a:defRPr sz="1000">
                  <a:solidFill>
                    <a:schemeClr val="tx1"/>
                  </a:solidFill>
                  <a:latin typeface="Verdana" pitchFamily="34" charset="0"/>
                  <a:cs typeface="Arial" charset="0"/>
                </a:defRPr>
              </a:lvl7pPr>
              <a:lvl8pPr marL="3429000" indent="-228600" eaLnBrk="0" fontAlgn="base" hangingPunct="0">
                <a:spcBef>
                  <a:spcPct val="50000"/>
                </a:spcBef>
                <a:spcAft>
                  <a:spcPct val="0"/>
                </a:spcAft>
                <a:defRPr sz="1000">
                  <a:solidFill>
                    <a:schemeClr val="tx1"/>
                  </a:solidFill>
                  <a:latin typeface="Verdana" pitchFamily="34" charset="0"/>
                  <a:cs typeface="Arial" charset="0"/>
                </a:defRPr>
              </a:lvl8pPr>
              <a:lvl9pPr marL="3886200" indent="-228600" eaLnBrk="0" fontAlgn="base" hangingPunct="0">
                <a:spcBef>
                  <a:spcPct val="50000"/>
                </a:spcBef>
                <a:spcAft>
                  <a:spcPct val="0"/>
                </a:spcAft>
                <a:defRPr sz="1000">
                  <a:solidFill>
                    <a:schemeClr val="tx1"/>
                  </a:solidFill>
                  <a:latin typeface="Verdana" pitchFamily="34" charset="0"/>
                  <a:cs typeface="Arial" charset="0"/>
                </a:defRPr>
              </a:lvl9pPr>
            </a:lstStyle>
            <a:p>
              <a:pPr marL="266700" marR="0" lvl="0" indent="0" defTabSz="913895" eaLnBrk="1" fontAlgn="auto" latinLnBrk="0" hangingPunct="1">
                <a:lnSpc>
                  <a:spcPct val="100000"/>
                </a:lnSpc>
                <a:spcBef>
                  <a:spcPts val="0"/>
                </a:spcBef>
                <a:spcAft>
                  <a:spcPts val="0"/>
                </a:spcAft>
                <a:buClr>
                  <a:srgbClr val="808080"/>
                </a:buClr>
                <a:buSzTx/>
                <a:buFontTx/>
                <a:buNone/>
                <a:tabLst/>
                <a:defRPr/>
              </a:pPr>
              <a:endParaRPr kumimoji="0" lang="de-DE" sz="1100" b="1" i="0" u="none" strike="noStrike" kern="0" cap="none" spc="0" normalizeH="0" baseline="0" noProof="0" dirty="0">
                <a:ln>
                  <a:noFill/>
                </a:ln>
                <a:solidFill>
                  <a:srgbClr val="646464"/>
                </a:solidFill>
                <a:effectLst/>
                <a:uLnTx/>
                <a:uFillTx/>
                <a:latin typeface="Tahoma"/>
                <a:cs typeface="Arial" charset="0"/>
              </a:endParaRPr>
            </a:p>
          </p:txBody>
        </p:sp>
        <p:pic>
          <p:nvPicPr>
            <p:cNvPr id="29" name="Grafik 28">
              <a:extLst>
                <a:ext uri="{FF2B5EF4-FFF2-40B4-BE49-F238E27FC236}">
                  <a16:creationId xmlns:a16="http://schemas.microsoft.com/office/drawing/2014/main" id="{B851EC1B-390F-A541-9E94-68B9A036232B}"/>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23227" y="1191117"/>
              <a:ext cx="495867" cy="495867"/>
            </a:xfrm>
            <a:prstGeom prst="rect">
              <a:avLst/>
            </a:prstGeom>
          </p:spPr>
        </p:pic>
      </p:grpSp>
      <p:sp>
        <p:nvSpPr>
          <p:cNvPr id="30" name="Rectangle 21">
            <a:extLst>
              <a:ext uri="{FF2B5EF4-FFF2-40B4-BE49-F238E27FC236}">
                <a16:creationId xmlns:a16="http://schemas.microsoft.com/office/drawing/2014/main" id="{895C0217-5DEF-AB40-BF7A-061A5B94B504}"/>
              </a:ext>
            </a:extLst>
          </p:cNvPr>
          <p:cNvSpPr/>
          <p:nvPr/>
        </p:nvSpPr>
        <p:spPr bwMode="auto">
          <a:xfrm>
            <a:off x="-115613" y="158701"/>
            <a:ext cx="12331538" cy="1452196"/>
          </a:xfrm>
          <a:prstGeom prst="rect">
            <a:avLst/>
          </a:prstGeom>
          <a:solidFill>
            <a:schemeClr val="accent1">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grpSp>
        <p:nvGrpSpPr>
          <p:cNvPr id="31" name="Group 5">
            <a:extLst>
              <a:ext uri="{FF2B5EF4-FFF2-40B4-BE49-F238E27FC236}">
                <a16:creationId xmlns:a16="http://schemas.microsoft.com/office/drawing/2014/main" id="{624EB561-6553-F94A-B2AD-93E0B6D275E0}"/>
              </a:ext>
            </a:extLst>
          </p:cNvPr>
          <p:cNvGrpSpPr/>
          <p:nvPr/>
        </p:nvGrpSpPr>
        <p:grpSpPr>
          <a:xfrm>
            <a:off x="614711" y="431477"/>
            <a:ext cx="9821086" cy="792915"/>
            <a:chOff x="3951373" y="2542839"/>
            <a:chExt cx="4070075" cy="793081"/>
          </a:xfrm>
        </p:grpSpPr>
        <p:sp>
          <p:nvSpPr>
            <p:cNvPr id="32" name="TextBox 6">
              <a:extLst>
                <a:ext uri="{FF2B5EF4-FFF2-40B4-BE49-F238E27FC236}">
                  <a16:creationId xmlns:a16="http://schemas.microsoft.com/office/drawing/2014/main" id="{83A43F5F-7497-7D4B-94BA-EB58598B7ADD}"/>
                </a:ext>
              </a:extLst>
            </p:cNvPr>
            <p:cNvSpPr txBox="1"/>
            <p:nvPr/>
          </p:nvSpPr>
          <p:spPr>
            <a:xfrm>
              <a:off x="3951373" y="2542839"/>
              <a:ext cx="1606990" cy="369409"/>
            </a:xfrm>
            <a:prstGeom prst="rect">
              <a:avLst/>
            </a:prstGeom>
            <a:noFill/>
          </p:spPr>
          <p:txBody>
            <a:bodyPr wrap="none" lIns="0" tIns="0" rIns="0" bIns="0" rtlCol="0">
              <a:spAutoFit/>
            </a:bodyPr>
            <a:lstStyle/>
            <a:p>
              <a:pPr marL="0" marR="0" lvl="0" indent="0" algn="l" defTabSz="914079"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300" normalizeH="0" baseline="0" noProof="0" dirty="0">
                  <a:ln>
                    <a:noFill/>
                  </a:ln>
                  <a:solidFill>
                    <a:srgbClr val="FFFFFF"/>
                  </a:solidFill>
                  <a:effectLst/>
                  <a:uLnTx/>
                  <a:uFillTx/>
                  <a:latin typeface="Tahoma"/>
                  <a:ea typeface="+mn-ea"/>
                  <a:cs typeface="+mn-cs"/>
                </a:rPr>
                <a:t>10 Bildungsbereiche</a:t>
              </a:r>
            </a:p>
          </p:txBody>
        </p:sp>
        <p:sp>
          <p:nvSpPr>
            <p:cNvPr id="33" name="TextBox 7">
              <a:extLst>
                <a:ext uri="{FF2B5EF4-FFF2-40B4-BE49-F238E27FC236}">
                  <a16:creationId xmlns:a16="http://schemas.microsoft.com/office/drawing/2014/main" id="{8D6C73DA-DE5D-D74F-86D3-61F4E2F073EB}"/>
                </a:ext>
              </a:extLst>
            </p:cNvPr>
            <p:cNvSpPr txBox="1"/>
            <p:nvPr/>
          </p:nvSpPr>
          <p:spPr>
            <a:xfrm>
              <a:off x="3951373" y="3089647"/>
              <a:ext cx="4070075" cy="246273"/>
            </a:xfrm>
            <a:prstGeom prst="rect">
              <a:avLst/>
            </a:prstGeom>
            <a:noFill/>
          </p:spPr>
          <p:txBody>
            <a:bodyPr wrap="none" lIns="0" tIns="0" rIns="0" bIns="0" rtlCol="0">
              <a:spAutoFit/>
            </a:bodyPr>
            <a:lstStyle/>
            <a:p>
              <a:pPr lvl="0" defTabSz="914079">
                <a:defRPr/>
              </a:pPr>
              <a:r>
                <a:rPr lang="de-DE" sz="1600" spc="300" dirty="0">
                  <a:solidFill>
                    <a:srgbClr val="FFFFFF"/>
                  </a:solidFill>
                  <a:latin typeface="Tahoma"/>
                </a:rPr>
                <a:t>Es gibt zehn Bildungsbereiche für Kindertageseinrichtungen und Grundschule</a:t>
              </a:r>
              <a:endParaRPr kumimoji="0" lang="de-DE" sz="1600" b="1" i="0" u="none" strike="noStrike" kern="1200" cap="none" spc="300" normalizeH="0" baseline="0" noProof="0" dirty="0">
                <a:ln>
                  <a:noFill/>
                </a:ln>
                <a:solidFill>
                  <a:srgbClr val="FFFFFF"/>
                </a:solidFill>
                <a:effectLst/>
                <a:uLnTx/>
                <a:uFillTx/>
                <a:latin typeface="Tahoma"/>
                <a:ea typeface="+mn-ea"/>
                <a:cs typeface="+mn-cs"/>
              </a:endParaRPr>
            </a:p>
          </p:txBody>
        </p:sp>
        <p:cxnSp>
          <p:nvCxnSpPr>
            <p:cNvPr id="34" name="Straight Connector 8">
              <a:extLst>
                <a:ext uri="{FF2B5EF4-FFF2-40B4-BE49-F238E27FC236}">
                  <a16:creationId xmlns:a16="http://schemas.microsoft.com/office/drawing/2014/main" id="{962A16E6-3357-034D-97A8-FE4C4760F574}"/>
                </a:ext>
              </a:extLst>
            </p:cNvPr>
            <p:cNvCxnSpPr>
              <a:cxnSpLocks/>
            </p:cNvCxnSpPr>
            <p:nvPr/>
          </p:nvCxnSpPr>
          <p:spPr>
            <a:xfrm>
              <a:off x="3951373" y="2960024"/>
              <a:ext cx="3920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919471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descr="Ein Bild, das Text, Tisch, drinnen, Schreibgerät enthält.&#10;&#10;Automatisch generierte Beschreibung">
            <a:extLst>
              <a:ext uri="{FF2B5EF4-FFF2-40B4-BE49-F238E27FC236}">
                <a16:creationId xmlns:a16="http://schemas.microsoft.com/office/drawing/2014/main" id="{09AED58D-3272-F749-83A9-91AA2AE7804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95"/>
          <a:stretch/>
        </p:blipFill>
        <p:spPr>
          <a:xfrm>
            <a:off x="-23925" y="566696"/>
            <a:ext cx="12239849" cy="1430278"/>
          </a:xfrm>
          <a:prstGeom prst="rect">
            <a:avLst/>
          </a:prstGeom>
        </p:spPr>
      </p:pic>
      <p:sp>
        <p:nvSpPr>
          <p:cNvPr id="5" name="Rectangle 21">
            <a:extLst>
              <a:ext uri="{FF2B5EF4-FFF2-40B4-BE49-F238E27FC236}">
                <a16:creationId xmlns:a16="http://schemas.microsoft.com/office/drawing/2014/main" id="{95CE66D6-3CEF-7B4E-910B-BDC92F9B8101}"/>
              </a:ext>
            </a:extLst>
          </p:cNvPr>
          <p:cNvSpPr/>
          <p:nvPr/>
        </p:nvSpPr>
        <p:spPr bwMode="auto">
          <a:xfrm>
            <a:off x="-23925" y="555284"/>
            <a:ext cx="12239849" cy="1452196"/>
          </a:xfrm>
          <a:prstGeom prst="rect">
            <a:avLst/>
          </a:prstGeom>
          <a:solidFill>
            <a:schemeClr val="accent1">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grpSp>
        <p:nvGrpSpPr>
          <p:cNvPr id="6" name="Group 5">
            <a:extLst>
              <a:ext uri="{FF2B5EF4-FFF2-40B4-BE49-F238E27FC236}">
                <a16:creationId xmlns:a16="http://schemas.microsoft.com/office/drawing/2014/main" id="{7DC43999-4BF1-4A4F-A600-57F33AAB7861}"/>
              </a:ext>
            </a:extLst>
          </p:cNvPr>
          <p:cNvGrpSpPr/>
          <p:nvPr/>
        </p:nvGrpSpPr>
        <p:grpSpPr>
          <a:xfrm>
            <a:off x="1077166" y="948259"/>
            <a:ext cx="3422412" cy="792915"/>
            <a:chOff x="3951373" y="2542839"/>
            <a:chExt cx="1418323" cy="793081"/>
          </a:xfrm>
        </p:grpSpPr>
        <p:sp>
          <p:nvSpPr>
            <p:cNvPr id="7" name="TextBox 6">
              <a:extLst>
                <a:ext uri="{FF2B5EF4-FFF2-40B4-BE49-F238E27FC236}">
                  <a16:creationId xmlns:a16="http://schemas.microsoft.com/office/drawing/2014/main" id="{CF6AB2DF-74BF-8748-87D8-FCFDA75C68B5}"/>
                </a:ext>
              </a:extLst>
            </p:cNvPr>
            <p:cNvSpPr txBox="1"/>
            <p:nvPr/>
          </p:nvSpPr>
          <p:spPr>
            <a:xfrm>
              <a:off x="3951373" y="2542839"/>
              <a:ext cx="1418323" cy="369409"/>
            </a:xfrm>
            <a:prstGeom prst="rect">
              <a:avLst/>
            </a:prstGeom>
            <a:noFill/>
          </p:spPr>
          <p:txBody>
            <a:bodyPr wrap="none" lIns="0" tIns="0" rIns="0" bIns="0" rtlCol="0">
              <a:spAutoFit/>
            </a:bodyPr>
            <a:lstStyle/>
            <a:p>
              <a:pPr marL="0" marR="0" lvl="0" indent="0" algn="l" defTabSz="914079"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300" normalizeH="0" baseline="0" noProof="0" dirty="0">
                  <a:ln>
                    <a:noFill/>
                  </a:ln>
                  <a:solidFill>
                    <a:srgbClr val="FFFFFF"/>
                  </a:solidFill>
                  <a:effectLst/>
                  <a:uLnTx/>
                  <a:uFillTx/>
                  <a:latin typeface="Tahoma"/>
                  <a:ea typeface="+mn-ea"/>
                  <a:cs typeface="+mn-cs"/>
                </a:rPr>
                <a:t>Bildungsbereich 1</a:t>
              </a:r>
            </a:p>
          </p:txBody>
        </p:sp>
        <p:sp>
          <p:nvSpPr>
            <p:cNvPr id="8" name="TextBox 7">
              <a:extLst>
                <a:ext uri="{FF2B5EF4-FFF2-40B4-BE49-F238E27FC236}">
                  <a16:creationId xmlns:a16="http://schemas.microsoft.com/office/drawing/2014/main" id="{A6ED598F-26CE-6048-BBBC-BDC625CABF31}"/>
                </a:ext>
              </a:extLst>
            </p:cNvPr>
            <p:cNvSpPr txBox="1"/>
            <p:nvPr/>
          </p:nvSpPr>
          <p:spPr>
            <a:xfrm>
              <a:off x="3951373" y="3089647"/>
              <a:ext cx="885963" cy="246273"/>
            </a:xfrm>
            <a:prstGeom prst="rect">
              <a:avLst/>
            </a:prstGeom>
            <a:noFill/>
          </p:spPr>
          <p:txBody>
            <a:bodyPr wrap="none" lIns="0" tIns="0" rIns="0" bIns="0" rtlCol="0">
              <a:spAutoFit/>
            </a:bodyPr>
            <a:lstStyle/>
            <a:p>
              <a:pPr marL="0" marR="0" lvl="0" indent="0" algn="l" defTabSz="914079"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300" normalizeH="0" baseline="0" noProof="0" dirty="0">
                  <a:ln>
                    <a:noFill/>
                  </a:ln>
                  <a:solidFill>
                    <a:srgbClr val="FFFFFF"/>
                  </a:solidFill>
                  <a:effectLst/>
                  <a:uLnTx/>
                  <a:uFillTx/>
                  <a:latin typeface="Tahoma"/>
                  <a:ea typeface="+mn-ea"/>
                  <a:cs typeface="+mn-cs"/>
                </a:rPr>
                <a:t>Bewegung - </a:t>
              </a:r>
              <a:r>
                <a:rPr kumimoji="0" lang="de-DE" sz="1600" b="1" i="0" u="none" strike="noStrike" kern="1200" cap="none" spc="300" normalizeH="0" baseline="0" noProof="0" dirty="0">
                  <a:ln>
                    <a:noFill/>
                  </a:ln>
                  <a:solidFill>
                    <a:srgbClr val="FFFFFF"/>
                  </a:solidFill>
                  <a:effectLst/>
                  <a:uLnTx/>
                  <a:uFillTx/>
                  <a:latin typeface="Tahoma"/>
                  <a:ea typeface="+mn-ea"/>
                  <a:cs typeface="+mn-cs"/>
                </a:rPr>
                <a:t>Kita</a:t>
              </a:r>
            </a:p>
          </p:txBody>
        </p:sp>
        <p:cxnSp>
          <p:nvCxnSpPr>
            <p:cNvPr id="9" name="Straight Connector 8">
              <a:extLst>
                <a:ext uri="{FF2B5EF4-FFF2-40B4-BE49-F238E27FC236}">
                  <a16:creationId xmlns:a16="http://schemas.microsoft.com/office/drawing/2014/main" id="{1AAB9A71-ADAA-0949-B752-37BC01FB2424}"/>
                </a:ext>
              </a:extLst>
            </p:cNvPr>
            <p:cNvCxnSpPr>
              <a:cxnSpLocks/>
            </p:cNvCxnSpPr>
            <p:nvPr/>
          </p:nvCxnSpPr>
          <p:spPr>
            <a:xfrm>
              <a:off x="3951373" y="2960024"/>
              <a:ext cx="3920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0" name="Rechteck 5">
            <a:extLst>
              <a:ext uri="{FF2B5EF4-FFF2-40B4-BE49-F238E27FC236}">
                <a16:creationId xmlns:a16="http://schemas.microsoft.com/office/drawing/2014/main" id="{DE3492BF-D865-0E44-BFE4-B206261426D7}"/>
              </a:ext>
            </a:extLst>
          </p:cNvPr>
          <p:cNvSpPr/>
          <p:nvPr/>
        </p:nvSpPr>
        <p:spPr bwMode="auto">
          <a:xfrm>
            <a:off x="444961" y="3015026"/>
            <a:ext cx="5403743" cy="2477617"/>
          </a:xfrm>
          <a:prstGeom prst="rect">
            <a:avLst/>
          </a:prstGeom>
          <a:solidFill>
            <a:schemeClr val="bg1"/>
          </a:solid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104372" tIns="52502" rIns="102634" bIns="52502" numCol="1" rtlCol="0" anchor="ctr" anchorCtr="0" compatLnSpc="1">
            <a:prstTxWarp prst="textNoShape">
              <a:avLst/>
            </a:prstTxWarp>
          </a:bodyPr>
          <a:lstStyle/>
          <a:p>
            <a:pPr marL="0" marR="0" lvl="0" indent="0" algn="ctr" defTabSz="995065" rtl="0" eaLnBrk="1" fontAlgn="base" latinLnBrk="0" hangingPunct="1">
              <a:lnSpc>
                <a:spcPct val="100000"/>
              </a:lnSpc>
              <a:spcBef>
                <a:spcPct val="0"/>
              </a:spcBef>
              <a:spcAft>
                <a:spcPct val="0"/>
              </a:spcAft>
              <a:buClr>
                <a:srgbClr val="FF8000"/>
              </a:buClr>
              <a:buSzPct val="75000"/>
              <a:buFontTx/>
              <a:buNone/>
              <a:tabLst/>
              <a:defRPr/>
            </a:pPr>
            <a:endParaRPr kumimoji="0" lang="de-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11" name="Text Placeholder 2">
            <a:extLst>
              <a:ext uri="{FF2B5EF4-FFF2-40B4-BE49-F238E27FC236}">
                <a16:creationId xmlns:a16="http://schemas.microsoft.com/office/drawing/2014/main" id="{F616E0A5-7902-A448-8202-BA1F9847240B}"/>
              </a:ext>
            </a:extLst>
          </p:cNvPr>
          <p:cNvSpPr txBox="1">
            <a:spLocks/>
          </p:cNvSpPr>
          <p:nvPr/>
        </p:nvSpPr>
        <p:spPr>
          <a:xfrm>
            <a:off x="758652" y="3251522"/>
            <a:ext cx="4887089" cy="2154436"/>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Sinneserfahrung </a:t>
            </a:r>
          </a:p>
          <a:p>
            <a:pPr marL="285750" lvl="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Körpererfahrung </a:t>
            </a:r>
          </a:p>
          <a:p>
            <a:pPr marL="285750" lvl="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großräumige Bewegungserfahrung </a:t>
            </a:r>
          </a:p>
          <a:p>
            <a:pPr marL="285750" lvl="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kleinräumige Bewegungs- und Materialerfahrung </a:t>
            </a:r>
          </a:p>
          <a:p>
            <a:pPr marL="285750" lvl="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gesundheitliche Aspekte</a:t>
            </a:r>
          </a:p>
          <a:p>
            <a:pPr marL="285750" lvl="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motorische Aspekte</a:t>
            </a:r>
          </a:p>
          <a:p>
            <a:pPr marL="285750" lvl="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soziale Aspekte </a:t>
            </a:r>
          </a:p>
          <a:p>
            <a:pPr marL="285750" lvl="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Umsetzung: </a:t>
            </a:r>
            <a:r>
              <a:rPr lang="de-DE" sz="1400" dirty="0" err="1">
                <a:solidFill>
                  <a:schemeClr val="tx1">
                    <a:lumMod val="65000"/>
                    <a:lumOff val="35000"/>
                  </a:schemeClr>
                </a:solidFill>
                <a:latin typeface="Tahoma"/>
              </a:rPr>
              <a:t>Waldtage</a:t>
            </a:r>
            <a:r>
              <a:rPr lang="de-DE" sz="1400" dirty="0">
                <a:solidFill>
                  <a:schemeClr val="tx1">
                    <a:lumMod val="65000"/>
                    <a:lumOff val="35000"/>
                  </a:schemeClr>
                </a:solidFill>
                <a:latin typeface="Tahoma"/>
              </a:rPr>
              <a:t>, Bewegungsbaustellen, </a:t>
            </a:r>
            <a:br>
              <a:rPr lang="de-DE" sz="1400" dirty="0">
                <a:solidFill>
                  <a:schemeClr val="tx1">
                    <a:lumMod val="65000"/>
                    <a:lumOff val="35000"/>
                  </a:schemeClr>
                </a:solidFill>
                <a:latin typeface="Tahoma"/>
              </a:rPr>
            </a:br>
            <a:r>
              <a:rPr lang="de-DE" sz="1400" dirty="0">
                <a:solidFill>
                  <a:schemeClr val="tx1">
                    <a:lumMod val="65000"/>
                    <a:lumOff val="35000"/>
                  </a:schemeClr>
                </a:solidFill>
                <a:latin typeface="Tahoma"/>
              </a:rPr>
              <a:t>gezielte Angebote, Besuch auf einem Spielplatz, </a:t>
            </a:r>
            <a:br>
              <a:rPr lang="de-DE" sz="1400" dirty="0">
                <a:solidFill>
                  <a:schemeClr val="tx1">
                    <a:lumMod val="65000"/>
                    <a:lumOff val="35000"/>
                  </a:schemeClr>
                </a:solidFill>
                <a:latin typeface="Tahoma"/>
              </a:rPr>
            </a:br>
            <a:r>
              <a:rPr lang="de-DE" sz="1400" dirty="0">
                <a:solidFill>
                  <a:schemeClr val="tx1">
                    <a:lumMod val="65000"/>
                    <a:lumOff val="35000"/>
                  </a:schemeClr>
                </a:solidFill>
                <a:latin typeface="Tahoma"/>
              </a:rPr>
              <a:t>Projekte in Psychomotorik, ...</a:t>
            </a:r>
          </a:p>
        </p:txBody>
      </p:sp>
      <p:sp>
        <p:nvSpPr>
          <p:cNvPr id="12" name="TextBox 187">
            <a:extLst>
              <a:ext uri="{FF2B5EF4-FFF2-40B4-BE49-F238E27FC236}">
                <a16:creationId xmlns:a16="http://schemas.microsoft.com/office/drawing/2014/main" id="{45EF4EE6-CAEA-A548-A6FD-CD3DFFCB7A59}"/>
              </a:ext>
            </a:extLst>
          </p:cNvPr>
          <p:cNvSpPr txBox="1"/>
          <p:nvPr/>
        </p:nvSpPr>
        <p:spPr>
          <a:xfrm>
            <a:off x="793449" y="2929558"/>
            <a:ext cx="2104706" cy="215444"/>
          </a:xfrm>
          <a:prstGeom prst="rect">
            <a:avLst/>
          </a:prstGeom>
          <a:solidFill>
            <a:schemeClr val="bg1"/>
          </a:solidFill>
        </p:spPr>
        <p:txBody>
          <a:bodyPr wrap="square" lIns="0" tIns="0" rIns="0" bIns="0" rtlCol="0">
            <a:spAutoFit/>
          </a:bodyPr>
          <a:lstStyle/>
          <a:p>
            <a:pPr marL="0" marR="0" lvl="0" indent="0" algn="ctr" defTabSz="914079"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404040"/>
                </a:solidFill>
                <a:effectLst/>
                <a:uLnTx/>
                <a:uFillTx/>
                <a:latin typeface="Tahoma"/>
                <a:ea typeface="+mn-ea"/>
                <a:cs typeface="+mn-cs"/>
              </a:rPr>
              <a:t>Beispiele:</a:t>
            </a:r>
            <a:endParaRPr kumimoji="0" lang="de-DE" sz="1200" b="1" i="0" u="none" strike="noStrike" kern="1200" cap="none" spc="0" normalizeH="0" baseline="0" noProof="0" dirty="0">
              <a:ln>
                <a:noFill/>
              </a:ln>
              <a:solidFill>
                <a:srgbClr val="404040"/>
              </a:solidFill>
              <a:effectLst/>
              <a:uLnTx/>
              <a:uFillTx/>
              <a:latin typeface="Tahoma"/>
              <a:ea typeface="+mn-ea"/>
              <a:cs typeface="+mn-cs"/>
            </a:endParaRPr>
          </a:p>
        </p:txBody>
      </p:sp>
      <p:sp>
        <p:nvSpPr>
          <p:cNvPr id="20" name="Oval 8">
            <a:extLst>
              <a:ext uri="{FF2B5EF4-FFF2-40B4-BE49-F238E27FC236}">
                <a16:creationId xmlns:a16="http://schemas.microsoft.com/office/drawing/2014/main" id="{D3F36EB9-9C20-1646-9C22-4D953B75A75B}"/>
              </a:ext>
            </a:extLst>
          </p:cNvPr>
          <p:cNvSpPr/>
          <p:nvPr/>
        </p:nvSpPr>
        <p:spPr>
          <a:xfrm>
            <a:off x="230905" y="2869817"/>
            <a:ext cx="376966" cy="376966"/>
          </a:xfrm>
          <a:prstGeom prst="ellipse">
            <a:avLst/>
          </a:prstGeom>
          <a:solidFill>
            <a:srgbClr val="404040"/>
          </a:solidFill>
          <a:ln w="38100">
            <a:no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79"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FFFFFF"/>
                </a:solidFill>
                <a:effectLst/>
                <a:uLnTx/>
                <a:uFillTx/>
                <a:latin typeface="Tahoma"/>
                <a:ea typeface="+mn-ea"/>
                <a:cs typeface="+mn-cs"/>
              </a:rPr>
              <a:t>1</a:t>
            </a:r>
          </a:p>
        </p:txBody>
      </p:sp>
      <p:pic>
        <p:nvPicPr>
          <p:cNvPr id="26" name="Inhaltsplatzhalter 3">
            <a:extLst>
              <a:ext uri="{FF2B5EF4-FFF2-40B4-BE49-F238E27FC236}">
                <a16:creationId xmlns:a16="http://schemas.microsoft.com/office/drawing/2014/main" id="{C8230280-068C-EE4E-8033-56E6393D33C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a:xfrm>
            <a:off x="9101443" y="2160851"/>
            <a:ext cx="2964466" cy="1976818"/>
          </a:xfrm>
          <a:prstGeom prst="rect">
            <a:avLst/>
          </a:prstGeom>
        </p:spPr>
      </p:pic>
      <p:pic>
        <p:nvPicPr>
          <p:cNvPr id="27" name="Picture 2" descr="C:\Users\nolte\Documents\Schule\Kita\Neuer Ordner\Waldwichtel 4.jpg">
            <a:extLst>
              <a:ext uri="{FF2B5EF4-FFF2-40B4-BE49-F238E27FC236}">
                <a16:creationId xmlns:a16="http://schemas.microsoft.com/office/drawing/2014/main" id="{6D53FB66-8246-A044-966E-A4BC7D0127A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999485" y="3354237"/>
            <a:ext cx="2964467" cy="1976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
            <a:extLst>
              <a:ext uri="{FF2B5EF4-FFF2-40B4-BE49-F238E27FC236}">
                <a16:creationId xmlns:a16="http://schemas.microsoft.com/office/drawing/2014/main" id="{A5B5973F-DF27-B74D-93B0-208C7DB59112}"/>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9114733" y="4342646"/>
            <a:ext cx="2937886" cy="1976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668497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descr="Ein Bild, das Text, Tisch, drinnen, Schreibgerät enthält.&#10;&#10;Automatisch generierte Beschreibung">
            <a:extLst>
              <a:ext uri="{FF2B5EF4-FFF2-40B4-BE49-F238E27FC236}">
                <a16:creationId xmlns:a16="http://schemas.microsoft.com/office/drawing/2014/main" id="{09AED58D-3272-F749-83A9-91AA2AE7804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95"/>
          <a:stretch/>
        </p:blipFill>
        <p:spPr>
          <a:xfrm>
            <a:off x="-23925" y="566696"/>
            <a:ext cx="12239849" cy="1430278"/>
          </a:xfrm>
          <a:prstGeom prst="rect">
            <a:avLst/>
          </a:prstGeom>
        </p:spPr>
      </p:pic>
      <p:sp>
        <p:nvSpPr>
          <p:cNvPr id="5" name="Rectangle 21">
            <a:extLst>
              <a:ext uri="{FF2B5EF4-FFF2-40B4-BE49-F238E27FC236}">
                <a16:creationId xmlns:a16="http://schemas.microsoft.com/office/drawing/2014/main" id="{95CE66D6-3CEF-7B4E-910B-BDC92F9B8101}"/>
              </a:ext>
            </a:extLst>
          </p:cNvPr>
          <p:cNvSpPr/>
          <p:nvPr/>
        </p:nvSpPr>
        <p:spPr bwMode="auto">
          <a:xfrm>
            <a:off x="-23925" y="555284"/>
            <a:ext cx="12239849" cy="1452196"/>
          </a:xfrm>
          <a:prstGeom prst="rect">
            <a:avLst/>
          </a:prstGeom>
          <a:solidFill>
            <a:schemeClr val="tx2">
              <a:lumMod val="75000"/>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7" name="TextBox 6">
            <a:extLst>
              <a:ext uri="{FF2B5EF4-FFF2-40B4-BE49-F238E27FC236}">
                <a16:creationId xmlns:a16="http://schemas.microsoft.com/office/drawing/2014/main" id="{CF6AB2DF-74BF-8748-87D8-FCFDA75C68B5}"/>
              </a:ext>
            </a:extLst>
          </p:cNvPr>
          <p:cNvSpPr txBox="1"/>
          <p:nvPr/>
        </p:nvSpPr>
        <p:spPr>
          <a:xfrm>
            <a:off x="1077166" y="948262"/>
            <a:ext cx="3422412" cy="369332"/>
          </a:xfrm>
          <a:prstGeom prst="rect">
            <a:avLst/>
          </a:prstGeom>
          <a:noFill/>
        </p:spPr>
        <p:txBody>
          <a:bodyPr wrap="none" lIns="0" tIns="0" rIns="0" bIns="0" rtlCol="0">
            <a:spAutoFit/>
          </a:bodyPr>
          <a:lstStyle/>
          <a:p>
            <a:pPr marL="0" marR="0" lvl="0" indent="0" algn="l" defTabSz="914079"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300" normalizeH="0" baseline="0" noProof="0" dirty="0">
                <a:ln>
                  <a:noFill/>
                </a:ln>
                <a:solidFill>
                  <a:srgbClr val="FFFFFF"/>
                </a:solidFill>
                <a:effectLst/>
                <a:uLnTx/>
                <a:uFillTx/>
                <a:latin typeface="Tahoma"/>
                <a:ea typeface="+mn-ea"/>
                <a:cs typeface="+mn-cs"/>
              </a:rPr>
              <a:t>Bildungsbereich 1</a:t>
            </a:r>
          </a:p>
        </p:txBody>
      </p:sp>
      <p:sp>
        <p:nvSpPr>
          <p:cNvPr id="16" name="TextBox 7">
            <a:extLst>
              <a:ext uri="{FF2B5EF4-FFF2-40B4-BE49-F238E27FC236}">
                <a16:creationId xmlns:a16="http://schemas.microsoft.com/office/drawing/2014/main" id="{21E41DE7-6C40-2048-9CAA-377D11F356EA}"/>
              </a:ext>
            </a:extLst>
          </p:cNvPr>
          <p:cNvSpPr txBox="1"/>
          <p:nvPr/>
        </p:nvSpPr>
        <p:spPr>
          <a:xfrm>
            <a:off x="1077166" y="1494956"/>
            <a:ext cx="2487284" cy="246221"/>
          </a:xfrm>
          <a:prstGeom prst="rect">
            <a:avLst/>
          </a:prstGeom>
          <a:noFill/>
        </p:spPr>
        <p:txBody>
          <a:bodyPr wrap="none" lIns="0" tIns="0" rIns="0" bIns="0" rtlCol="0">
            <a:spAutoFit/>
          </a:bodyPr>
          <a:lstStyle/>
          <a:p>
            <a:pPr lvl="0" defTabSz="914079">
              <a:defRPr/>
            </a:pPr>
            <a:r>
              <a:rPr lang="de-DE" sz="1600" spc="300" dirty="0">
                <a:solidFill>
                  <a:srgbClr val="FFFFFF"/>
                </a:solidFill>
                <a:latin typeface="Tahoma"/>
              </a:rPr>
              <a:t>Bewegung - </a:t>
            </a:r>
            <a:r>
              <a:rPr lang="de-DE" sz="1600" b="1" spc="300" dirty="0">
                <a:solidFill>
                  <a:srgbClr val="FFFFFF"/>
                </a:solidFill>
                <a:latin typeface="Tahoma"/>
              </a:rPr>
              <a:t>Schule</a:t>
            </a:r>
            <a:endParaRPr kumimoji="0" lang="de-DE" sz="1600" b="1" i="0" u="none" strike="noStrike" kern="1200" cap="none" spc="300" normalizeH="0" baseline="0" noProof="0" dirty="0">
              <a:ln>
                <a:noFill/>
              </a:ln>
              <a:solidFill>
                <a:srgbClr val="FFFFFF"/>
              </a:solidFill>
              <a:effectLst/>
              <a:uLnTx/>
              <a:uFillTx/>
              <a:latin typeface="Tahoma"/>
              <a:ea typeface="+mn-ea"/>
              <a:cs typeface="+mn-cs"/>
            </a:endParaRPr>
          </a:p>
        </p:txBody>
      </p:sp>
      <p:cxnSp>
        <p:nvCxnSpPr>
          <p:cNvPr id="9" name="Straight Connector 8">
            <a:extLst>
              <a:ext uri="{FF2B5EF4-FFF2-40B4-BE49-F238E27FC236}">
                <a16:creationId xmlns:a16="http://schemas.microsoft.com/office/drawing/2014/main" id="{1AAB9A71-ADAA-0949-B752-37BC01FB2424}"/>
              </a:ext>
            </a:extLst>
          </p:cNvPr>
          <p:cNvCxnSpPr>
            <a:cxnSpLocks/>
          </p:cNvCxnSpPr>
          <p:nvPr/>
        </p:nvCxnSpPr>
        <p:spPr>
          <a:xfrm>
            <a:off x="1077166" y="1365360"/>
            <a:ext cx="94598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Rechteck 5">
            <a:extLst>
              <a:ext uri="{FF2B5EF4-FFF2-40B4-BE49-F238E27FC236}">
                <a16:creationId xmlns:a16="http://schemas.microsoft.com/office/drawing/2014/main" id="{59C57048-D4B7-6A49-B521-A8D59D8CC5E0}"/>
              </a:ext>
            </a:extLst>
          </p:cNvPr>
          <p:cNvSpPr/>
          <p:nvPr/>
        </p:nvSpPr>
        <p:spPr bwMode="auto">
          <a:xfrm>
            <a:off x="444962" y="3026188"/>
            <a:ext cx="4028038" cy="2372514"/>
          </a:xfrm>
          <a:prstGeom prst="rect">
            <a:avLst/>
          </a:prstGeom>
          <a:solidFill>
            <a:schemeClr val="bg1"/>
          </a:solid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104372" tIns="52502" rIns="102634" bIns="52502" numCol="1" rtlCol="0" anchor="ctr" anchorCtr="0" compatLnSpc="1">
            <a:prstTxWarp prst="textNoShape">
              <a:avLst/>
            </a:prstTxWarp>
          </a:bodyPr>
          <a:lstStyle/>
          <a:p>
            <a:pPr marL="0" marR="0" lvl="0" indent="0" algn="ctr" defTabSz="995065" rtl="0" eaLnBrk="1" fontAlgn="base" latinLnBrk="0" hangingPunct="1">
              <a:lnSpc>
                <a:spcPct val="100000"/>
              </a:lnSpc>
              <a:spcBef>
                <a:spcPct val="0"/>
              </a:spcBef>
              <a:spcAft>
                <a:spcPct val="0"/>
              </a:spcAft>
              <a:buClr>
                <a:srgbClr val="FF8000"/>
              </a:buClr>
              <a:buSzPct val="75000"/>
              <a:buFontTx/>
              <a:buNone/>
              <a:tabLst/>
              <a:defRPr/>
            </a:pPr>
            <a:endParaRPr kumimoji="0" lang="de-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24" name="Text Placeholder 2">
            <a:extLst>
              <a:ext uri="{FF2B5EF4-FFF2-40B4-BE49-F238E27FC236}">
                <a16:creationId xmlns:a16="http://schemas.microsoft.com/office/drawing/2014/main" id="{74199EFC-6547-9341-A0FF-592D30BA1331}"/>
              </a:ext>
            </a:extLst>
          </p:cNvPr>
          <p:cNvSpPr txBox="1">
            <a:spLocks/>
          </p:cNvSpPr>
          <p:nvPr/>
        </p:nvSpPr>
        <p:spPr>
          <a:xfrm>
            <a:off x="769800" y="3609440"/>
            <a:ext cx="3512862" cy="1785104"/>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buFont typeface="Arial" panose="020B0604020202020204" pitchFamily="34" charset="0"/>
              <a:buChar char="•"/>
              <a:defRPr/>
            </a:pPr>
            <a:r>
              <a:rPr lang="de-DE" sz="1400" dirty="0">
                <a:solidFill>
                  <a:srgbClr val="404040"/>
                </a:solidFill>
                <a:latin typeface="Tahoma"/>
              </a:rPr>
              <a:t>Aufnahmefähigkeit</a:t>
            </a:r>
          </a:p>
          <a:p>
            <a:pPr marL="285750" indent="-285750">
              <a:lnSpc>
                <a:spcPct val="100000"/>
              </a:lnSpc>
              <a:spcBef>
                <a:spcPts val="0"/>
              </a:spcBef>
              <a:buFont typeface="Arial" panose="020B0604020202020204" pitchFamily="34" charset="0"/>
              <a:buChar char="•"/>
              <a:defRPr/>
            </a:pPr>
            <a:r>
              <a:rPr lang="de-DE" sz="1400" dirty="0">
                <a:solidFill>
                  <a:srgbClr val="404040"/>
                </a:solidFill>
                <a:latin typeface="Tahoma"/>
              </a:rPr>
              <a:t>Konzentration</a:t>
            </a:r>
          </a:p>
          <a:p>
            <a:pPr marL="285750" indent="-285750">
              <a:lnSpc>
                <a:spcPct val="100000"/>
              </a:lnSpc>
              <a:spcBef>
                <a:spcPts val="0"/>
              </a:spcBef>
              <a:buFont typeface="Arial" panose="020B0604020202020204" pitchFamily="34" charset="0"/>
              <a:buChar char="•"/>
              <a:defRPr/>
            </a:pPr>
            <a:r>
              <a:rPr lang="de-DE" sz="1400" dirty="0">
                <a:solidFill>
                  <a:srgbClr val="404040"/>
                </a:solidFill>
                <a:latin typeface="Tahoma"/>
              </a:rPr>
              <a:t>gute Motorik</a:t>
            </a:r>
          </a:p>
          <a:p>
            <a:pPr marL="285750" indent="-285750">
              <a:lnSpc>
                <a:spcPct val="100000"/>
              </a:lnSpc>
              <a:spcBef>
                <a:spcPts val="0"/>
              </a:spcBef>
              <a:buFont typeface="Arial" panose="020B0604020202020204" pitchFamily="34" charset="0"/>
              <a:buChar char="•"/>
              <a:defRPr/>
            </a:pPr>
            <a:r>
              <a:rPr lang="de-DE" sz="1400" dirty="0">
                <a:solidFill>
                  <a:srgbClr val="404040"/>
                </a:solidFill>
                <a:latin typeface="Tahoma"/>
              </a:rPr>
              <a:t>Aufmerksamkeit</a:t>
            </a:r>
          </a:p>
          <a:p>
            <a:pPr marL="285750" indent="-285750">
              <a:lnSpc>
                <a:spcPct val="100000"/>
              </a:lnSpc>
              <a:spcBef>
                <a:spcPts val="0"/>
              </a:spcBef>
              <a:buFont typeface="Arial" panose="020B0604020202020204" pitchFamily="34" charset="0"/>
              <a:buChar char="•"/>
              <a:defRPr/>
            </a:pPr>
            <a:r>
              <a:rPr lang="de-DE" sz="1400" dirty="0">
                <a:solidFill>
                  <a:srgbClr val="404040"/>
                </a:solidFill>
                <a:latin typeface="Tahoma"/>
              </a:rPr>
              <a:t>sorgen für Entspannung</a:t>
            </a:r>
          </a:p>
          <a:p>
            <a:pPr marL="285750" indent="-285750">
              <a:lnSpc>
                <a:spcPct val="100000"/>
              </a:lnSpc>
              <a:spcBef>
                <a:spcPts val="0"/>
              </a:spcBef>
              <a:buFont typeface="Arial" panose="020B0604020202020204" pitchFamily="34" charset="0"/>
              <a:buChar char="•"/>
              <a:defRPr/>
            </a:pPr>
            <a:r>
              <a:rPr lang="de-DE" altLang="de-DE" sz="1400" b="1" dirty="0">
                <a:solidFill>
                  <a:srgbClr val="FF0000"/>
                </a:solidFill>
                <a:latin typeface="Arial" panose="020B0604020202020204" pitchFamily="34" charset="0"/>
              </a:rPr>
              <a:t>machen Spaß</a:t>
            </a:r>
          </a:p>
          <a:p>
            <a:pPr>
              <a:lnSpc>
                <a:spcPct val="100000"/>
              </a:lnSpc>
              <a:spcBef>
                <a:spcPts val="0"/>
              </a:spcBef>
              <a:defRPr/>
            </a:pPr>
            <a:endParaRPr lang="de-DE" sz="1400" dirty="0">
              <a:solidFill>
                <a:srgbClr val="404040"/>
              </a:solidFill>
              <a:latin typeface="Tahoma"/>
            </a:endParaRPr>
          </a:p>
          <a:p>
            <a:pPr marL="285750" indent="-285750">
              <a:lnSpc>
                <a:spcPct val="100000"/>
              </a:lnSpc>
              <a:spcBef>
                <a:spcPts val="0"/>
              </a:spcBef>
              <a:buFont typeface="Arial" panose="020B0604020202020204" pitchFamily="34" charset="0"/>
              <a:buChar char="•"/>
              <a:defRPr/>
            </a:pPr>
            <a:endParaRPr lang="de-DE" sz="1400" dirty="0">
              <a:solidFill>
                <a:srgbClr val="404040"/>
              </a:solidFill>
              <a:latin typeface="Tahoma"/>
            </a:endParaRPr>
          </a:p>
        </p:txBody>
      </p:sp>
      <p:sp>
        <p:nvSpPr>
          <p:cNvPr id="29" name="TextBox 187">
            <a:extLst>
              <a:ext uri="{FF2B5EF4-FFF2-40B4-BE49-F238E27FC236}">
                <a16:creationId xmlns:a16="http://schemas.microsoft.com/office/drawing/2014/main" id="{CDBEC6D2-A989-F34C-8200-7F7BFE507F0A}"/>
              </a:ext>
            </a:extLst>
          </p:cNvPr>
          <p:cNvSpPr txBox="1"/>
          <p:nvPr/>
        </p:nvSpPr>
        <p:spPr>
          <a:xfrm>
            <a:off x="769800" y="2858393"/>
            <a:ext cx="3365025" cy="430887"/>
          </a:xfrm>
          <a:prstGeom prst="rect">
            <a:avLst/>
          </a:prstGeom>
          <a:solidFill>
            <a:schemeClr val="bg1"/>
          </a:solidFill>
        </p:spPr>
        <p:txBody>
          <a:bodyPr wrap="square" lIns="0" tIns="0" rIns="0" bIns="0" rtlCol="0">
            <a:spAutoFit/>
          </a:bodyPr>
          <a:lstStyle/>
          <a:p>
            <a:pPr algn="ctr" defTabSz="914079">
              <a:defRPr/>
            </a:pPr>
            <a:r>
              <a:rPr lang="de-DE" sz="1400" b="1" dirty="0">
                <a:solidFill>
                  <a:srgbClr val="404040"/>
                </a:solidFill>
                <a:latin typeface="Tahoma"/>
              </a:rPr>
              <a:t>Bewegungspausen während des Schulalltags fördern zum Beispiel:</a:t>
            </a:r>
          </a:p>
        </p:txBody>
      </p:sp>
      <p:sp>
        <p:nvSpPr>
          <p:cNvPr id="20" name="Oval 8">
            <a:extLst>
              <a:ext uri="{FF2B5EF4-FFF2-40B4-BE49-F238E27FC236}">
                <a16:creationId xmlns:a16="http://schemas.microsoft.com/office/drawing/2014/main" id="{D3F36EB9-9C20-1646-9C22-4D953B75A75B}"/>
              </a:ext>
            </a:extLst>
          </p:cNvPr>
          <p:cNvSpPr/>
          <p:nvPr/>
        </p:nvSpPr>
        <p:spPr>
          <a:xfrm>
            <a:off x="230905" y="2869817"/>
            <a:ext cx="376966" cy="376966"/>
          </a:xfrm>
          <a:prstGeom prst="ellipse">
            <a:avLst/>
          </a:prstGeom>
          <a:solidFill>
            <a:srgbClr val="404040"/>
          </a:solidFill>
          <a:ln w="38100">
            <a:no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79"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FFFFFF"/>
                </a:solidFill>
                <a:effectLst/>
                <a:uLnTx/>
                <a:uFillTx/>
                <a:latin typeface="Tahoma"/>
                <a:ea typeface="+mn-ea"/>
                <a:cs typeface="+mn-cs"/>
              </a:rPr>
              <a:t>1</a:t>
            </a:r>
          </a:p>
        </p:txBody>
      </p:sp>
      <p:pic>
        <p:nvPicPr>
          <p:cNvPr id="31" name="Inhaltsplatzhalter 3">
            <a:extLst>
              <a:ext uri="{FF2B5EF4-FFF2-40B4-BE49-F238E27FC236}">
                <a16:creationId xmlns:a16="http://schemas.microsoft.com/office/drawing/2014/main" id="{765CAC73-31E8-674C-8B61-7B492358E80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a:xfrm>
            <a:off x="5475890" y="2016332"/>
            <a:ext cx="2803348" cy="2102104"/>
          </a:xfrm>
          <a:prstGeom prst="rect">
            <a:avLst/>
          </a:prstGeom>
        </p:spPr>
      </p:pic>
      <p:pic>
        <p:nvPicPr>
          <p:cNvPr id="32" name="Picture 2" descr="C:\Users\nolte\Documents\Schule\Kita\Neuer Ordner\P1050443.JPG">
            <a:extLst>
              <a:ext uri="{FF2B5EF4-FFF2-40B4-BE49-F238E27FC236}">
                <a16:creationId xmlns:a16="http://schemas.microsoft.com/office/drawing/2014/main" id="{5E0B19C9-1E30-9046-8B47-9DDCCBAD95AB}"/>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760773" y="2016331"/>
            <a:ext cx="2801299" cy="2102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3" descr="C:\Users\nolte\Documents\Schule\Kita\Neuer Ordner\P1050447.JPG">
            <a:extLst>
              <a:ext uri="{FF2B5EF4-FFF2-40B4-BE49-F238E27FC236}">
                <a16:creationId xmlns:a16="http://schemas.microsoft.com/office/drawing/2014/main" id="{034F43A3-8996-244D-BC54-572225BC535B}"/>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760000" y="4301409"/>
            <a:ext cx="2802806" cy="2102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5" descr="0034">
            <a:extLst>
              <a:ext uri="{FF2B5EF4-FFF2-40B4-BE49-F238E27FC236}">
                <a16:creationId xmlns:a16="http://schemas.microsoft.com/office/drawing/2014/main" id="{9FEA5453-50E0-F249-9114-E71BC862F26D}"/>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475928" y="4301410"/>
            <a:ext cx="2803274" cy="2102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998448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descr="Ein Bild, das Text, Tisch, drinnen, Schreibgerät enthält.&#10;&#10;Automatisch generierte Beschreibung">
            <a:extLst>
              <a:ext uri="{FF2B5EF4-FFF2-40B4-BE49-F238E27FC236}">
                <a16:creationId xmlns:a16="http://schemas.microsoft.com/office/drawing/2014/main" id="{09AED58D-3272-F749-83A9-91AA2AE7804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95"/>
          <a:stretch/>
        </p:blipFill>
        <p:spPr>
          <a:xfrm>
            <a:off x="-23925" y="566696"/>
            <a:ext cx="12239849" cy="1430278"/>
          </a:xfrm>
          <a:prstGeom prst="rect">
            <a:avLst/>
          </a:prstGeom>
        </p:spPr>
      </p:pic>
      <p:sp>
        <p:nvSpPr>
          <p:cNvPr id="5" name="Rectangle 21">
            <a:extLst>
              <a:ext uri="{FF2B5EF4-FFF2-40B4-BE49-F238E27FC236}">
                <a16:creationId xmlns:a16="http://schemas.microsoft.com/office/drawing/2014/main" id="{95CE66D6-3CEF-7B4E-910B-BDC92F9B8101}"/>
              </a:ext>
            </a:extLst>
          </p:cNvPr>
          <p:cNvSpPr/>
          <p:nvPr/>
        </p:nvSpPr>
        <p:spPr bwMode="auto">
          <a:xfrm>
            <a:off x="-23925" y="555284"/>
            <a:ext cx="12239849" cy="1452196"/>
          </a:xfrm>
          <a:prstGeom prst="rect">
            <a:avLst/>
          </a:prstGeom>
          <a:solidFill>
            <a:schemeClr val="accent1">
              <a:alpha val="84624"/>
            </a:schemeClr>
          </a:solidFill>
          <a:ln w="9525" cap="flat" cmpd="sng" algn="ctr">
            <a:noFill/>
            <a:prstDash val="solid"/>
            <a:round/>
            <a:headEnd type="none" w="med" len="med"/>
            <a:tailEnd type="none" w="med" len="med"/>
          </a:ln>
          <a:effectLst/>
        </p:spPr>
        <p:txBody>
          <a:bodyPr vert="horz" wrap="none" lIns="104378" tIns="52505" rIns="102641" bIns="52505" numCol="1" rtlCol="0" anchor="ctr" anchorCtr="0" compatLnSpc="1">
            <a:prstTxWarp prst="textNoShape">
              <a:avLst/>
            </a:prstTxWarp>
          </a:bodyPr>
          <a:lstStyle/>
          <a:p>
            <a:pPr marL="0" marR="0" lvl="0" indent="0" algn="ctr" defTabSz="995164" rtl="0" eaLnBrk="1" fontAlgn="base" latinLnBrk="0" hangingPunct="1">
              <a:lnSpc>
                <a:spcPct val="100000"/>
              </a:lnSpc>
              <a:spcBef>
                <a:spcPct val="0"/>
              </a:spcBef>
              <a:spcAft>
                <a:spcPct val="0"/>
              </a:spcAft>
              <a:buClr>
                <a:srgbClr val="198CFF"/>
              </a:buClr>
              <a:buSzPct val="75000"/>
              <a:buFontTx/>
              <a:buNone/>
              <a:tabLst/>
              <a:defRPr/>
            </a:pPr>
            <a:endParaRPr kumimoji="0" lang="en-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7" name="TextBox 6">
            <a:extLst>
              <a:ext uri="{FF2B5EF4-FFF2-40B4-BE49-F238E27FC236}">
                <a16:creationId xmlns:a16="http://schemas.microsoft.com/office/drawing/2014/main" id="{CF6AB2DF-74BF-8748-87D8-FCFDA75C68B5}"/>
              </a:ext>
            </a:extLst>
          </p:cNvPr>
          <p:cNvSpPr txBox="1"/>
          <p:nvPr/>
        </p:nvSpPr>
        <p:spPr>
          <a:xfrm>
            <a:off x="1077166" y="948262"/>
            <a:ext cx="3422412" cy="369332"/>
          </a:xfrm>
          <a:prstGeom prst="rect">
            <a:avLst/>
          </a:prstGeom>
          <a:noFill/>
        </p:spPr>
        <p:txBody>
          <a:bodyPr wrap="none" lIns="0" tIns="0" rIns="0" bIns="0" rtlCol="0">
            <a:spAutoFit/>
          </a:bodyPr>
          <a:lstStyle/>
          <a:p>
            <a:pPr marL="0" marR="0" lvl="0" indent="0" algn="l" defTabSz="914079"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300" normalizeH="0" baseline="0" noProof="0" dirty="0">
                <a:ln>
                  <a:noFill/>
                </a:ln>
                <a:solidFill>
                  <a:srgbClr val="FFFFFF"/>
                </a:solidFill>
                <a:effectLst/>
                <a:uLnTx/>
                <a:uFillTx/>
                <a:latin typeface="Tahoma"/>
                <a:ea typeface="+mn-ea"/>
                <a:cs typeface="+mn-cs"/>
              </a:rPr>
              <a:t>Bildungsbereich 2</a:t>
            </a:r>
          </a:p>
        </p:txBody>
      </p:sp>
      <p:sp>
        <p:nvSpPr>
          <p:cNvPr id="16" name="TextBox 7">
            <a:extLst>
              <a:ext uri="{FF2B5EF4-FFF2-40B4-BE49-F238E27FC236}">
                <a16:creationId xmlns:a16="http://schemas.microsoft.com/office/drawing/2014/main" id="{21E41DE7-6C40-2048-9CAA-377D11F356EA}"/>
              </a:ext>
            </a:extLst>
          </p:cNvPr>
          <p:cNvSpPr txBox="1"/>
          <p:nvPr/>
        </p:nvSpPr>
        <p:spPr>
          <a:xfrm>
            <a:off x="1077166" y="1494956"/>
            <a:ext cx="4679166" cy="246221"/>
          </a:xfrm>
          <a:prstGeom prst="rect">
            <a:avLst/>
          </a:prstGeom>
          <a:noFill/>
        </p:spPr>
        <p:txBody>
          <a:bodyPr wrap="none" lIns="0" tIns="0" rIns="0" bIns="0" rtlCol="0">
            <a:spAutoFit/>
          </a:bodyPr>
          <a:lstStyle/>
          <a:p>
            <a:pPr lvl="0" defTabSz="914079">
              <a:defRPr/>
            </a:pPr>
            <a:r>
              <a:rPr lang="de-DE" sz="1600" spc="300" dirty="0">
                <a:solidFill>
                  <a:srgbClr val="FFFFFF"/>
                </a:solidFill>
                <a:latin typeface="Tahoma"/>
              </a:rPr>
              <a:t>Körper, Gesundheit, Ernährung- </a:t>
            </a:r>
            <a:r>
              <a:rPr lang="de-DE" sz="1600" b="1" spc="300" dirty="0">
                <a:solidFill>
                  <a:srgbClr val="FFFFFF"/>
                </a:solidFill>
                <a:latin typeface="Tahoma"/>
              </a:rPr>
              <a:t>Kita</a:t>
            </a:r>
            <a:endParaRPr kumimoji="0" lang="de-DE" sz="1600" b="1" i="0" u="none" strike="noStrike" kern="1200" cap="none" spc="300" normalizeH="0" baseline="0" noProof="0" dirty="0">
              <a:ln>
                <a:noFill/>
              </a:ln>
              <a:solidFill>
                <a:srgbClr val="FFFFFF"/>
              </a:solidFill>
              <a:effectLst/>
              <a:uLnTx/>
              <a:uFillTx/>
              <a:latin typeface="Tahoma"/>
              <a:ea typeface="+mn-ea"/>
              <a:cs typeface="+mn-cs"/>
            </a:endParaRPr>
          </a:p>
        </p:txBody>
      </p:sp>
      <p:cxnSp>
        <p:nvCxnSpPr>
          <p:cNvPr id="9" name="Straight Connector 8">
            <a:extLst>
              <a:ext uri="{FF2B5EF4-FFF2-40B4-BE49-F238E27FC236}">
                <a16:creationId xmlns:a16="http://schemas.microsoft.com/office/drawing/2014/main" id="{1AAB9A71-ADAA-0949-B752-37BC01FB2424}"/>
              </a:ext>
            </a:extLst>
          </p:cNvPr>
          <p:cNvCxnSpPr>
            <a:cxnSpLocks/>
          </p:cNvCxnSpPr>
          <p:nvPr/>
        </p:nvCxnSpPr>
        <p:spPr>
          <a:xfrm>
            <a:off x="1077166" y="1365360"/>
            <a:ext cx="94598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Rechteck 5">
            <a:extLst>
              <a:ext uri="{FF2B5EF4-FFF2-40B4-BE49-F238E27FC236}">
                <a16:creationId xmlns:a16="http://schemas.microsoft.com/office/drawing/2014/main" id="{59C57048-D4B7-6A49-B521-A8D59D8CC5E0}"/>
              </a:ext>
            </a:extLst>
          </p:cNvPr>
          <p:cNvSpPr/>
          <p:nvPr/>
        </p:nvSpPr>
        <p:spPr bwMode="auto">
          <a:xfrm>
            <a:off x="550062" y="3131288"/>
            <a:ext cx="4028038" cy="1999925"/>
          </a:xfrm>
          <a:prstGeom prst="rect">
            <a:avLst/>
          </a:prstGeom>
          <a:solidFill>
            <a:schemeClr val="bg1"/>
          </a:solidFill>
          <a:ln w="1905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104372" tIns="52502" rIns="102634" bIns="52502" numCol="1" rtlCol="0" anchor="ctr" anchorCtr="0" compatLnSpc="1">
            <a:prstTxWarp prst="textNoShape">
              <a:avLst/>
            </a:prstTxWarp>
          </a:bodyPr>
          <a:lstStyle/>
          <a:p>
            <a:pPr marL="0" marR="0" lvl="0" indent="0" algn="ctr" defTabSz="995065" rtl="0" eaLnBrk="1" fontAlgn="base" latinLnBrk="0" hangingPunct="1">
              <a:lnSpc>
                <a:spcPct val="100000"/>
              </a:lnSpc>
              <a:spcBef>
                <a:spcPct val="0"/>
              </a:spcBef>
              <a:spcAft>
                <a:spcPct val="0"/>
              </a:spcAft>
              <a:buClr>
                <a:srgbClr val="FF8000"/>
              </a:buClr>
              <a:buSzPct val="75000"/>
              <a:buFontTx/>
              <a:buNone/>
              <a:tabLst/>
              <a:defRPr/>
            </a:pPr>
            <a:endParaRPr kumimoji="0" lang="de-DE" sz="1800" b="0" i="0" u="none" strike="noStrike" kern="1200" cap="none" spc="0" normalizeH="0" baseline="0" noProof="0" dirty="0">
              <a:ln>
                <a:noFill/>
              </a:ln>
              <a:solidFill>
                <a:srgbClr val="646464"/>
              </a:solidFill>
              <a:effectLst/>
              <a:uLnTx/>
              <a:uFillTx/>
              <a:latin typeface="Arial" charset="0"/>
              <a:ea typeface="+mn-ea"/>
              <a:cs typeface="+mn-cs"/>
            </a:endParaRPr>
          </a:p>
        </p:txBody>
      </p:sp>
      <p:sp>
        <p:nvSpPr>
          <p:cNvPr id="24" name="Text Placeholder 2">
            <a:extLst>
              <a:ext uri="{FF2B5EF4-FFF2-40B4-BE49-F238E27FC236}">
                <a16:creationId xmlns:a16="http://schemas.microsoft.com/office/drawing/2014/main" id="{74199EFC-6547-9341-A0FF-592D30BA1331}"/>
              </a:ext>
            </a:extLst>
          </p:cNvPr>
          <p:cNvSpPr txBox="1">
            <a:spLocks/>
          </p:cNvSpPr>
          <p:nvPr/>
        </p:nvSpPr>
        <p:spPr>
          <a:xfrm>
            <a:off x="874900" y="3518268"/>
            <a:ext cx="3512862" cy="172354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Angeleitete und freie Bewegungsangebote</a:t>
            </a:r>
          </a:p>
          <a:p>
            <a:pPr marL="285750" indent="-285750">
              <a:lnSpc>
                <a:spcPct val="100000"/>
              </a:lnSpc>
              <a:spcBef>
                <a:spcPts val="0"/>
              </a:spcBef>
              <a:buFont typeface="Arial" panose="020B0604020202020204" pitchFamily="34" charset="0"/>
              <a:buChar char="•"/>
              <a:defRPr/>
            </a:pPr>
            <a:r>
              <a:rPr lang="de-DE" sz="1400" dirty="0" err="1">
                <a:solidFill>
                  <a:schemeClr val="tx1">
                    <a:lumMod val="65000"/>
                    <a:lumOff val="35000"/>
                  </a:schemeClr>
                </a:solidFill>
                <a:latin typeface="Tahoma"/>
              </a:rPr>
              <a:t>Stillearbeit</a:t>
            </a:r>
            <a:r>
              <a:rPr lang="de-DE" sz="1400" dirty="0">
                <a:solidFill>
                  <a:schemeClr val="tx1">
                    <a:lumMod val="65000"/>
                    <a:lumOff val="35000"/>
                  </a:schemeClr>
                </a:solidFill>
                <a:latin typeface="Tahoma"/>
              </a:rPr>
              <a:t> /Traumreisen     </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Anspannungs- und Entspannungsphasen</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Hauswirtschaftliche Angebote</a:t>
            </a:r>
          </a:p>
          <a:p>
            <a:pPr marL="285750" indent="-285750">
              <a:lnSpc>
                <a:spcPct val="100000"/>
              </a:lnSpc>
              <a:spcBef>
                <a:spcPts val="0"/>
              </a:spcBef>
              <a:buFont typeface="Arial" panose="020B0604020202020204" pitchFamily="34" charset="0"/>
              <a:buChar char="•"/>
              <a:defRPr/>
            </a:pPr>
            <a:r>
              <a:rPr lang="de-DE" sz="1400" dirty="0">
                <a:solidFill>
                  <a:schemeClr val="tx1">
                    <a:lumMod val="65000"/>
                    <a:lumOff val="35000"/>
                  </a:schemeClr>
                </a:solidFill>
                <a:latin typeface="Tahoma"/>
              </a:rPr>
              <a:t>Gesunde Ernährung</a:t>
            </a:r>
          </a:p>
          <a:p>
            <a:pPr>
              <a:lnSpc>
                <a:spcPct val="100000"/>
              </a:lnSpc>
              <a:spcBef>
                <a:spcPts val="0"/>
              </a:spcBef>
              <a:defRPr/>
            </a:pPr>
            <a:endParaRPr lang="de-DE" sz="1400" dirty="0">
              <a:solidFill>
                <a:schemeClr val="tx1">
                  <a:lumMod val="65000"/>
                  <a:lumOff val="35000"/>
                </a:schemeClr>
              </a:solidFill>
              <a:latin typeface="Tahoma"/>
            </a:endParaRPr>
          </a:p>
          <a:p>
            <a:pPr marL="285750" indent="-285750">
              <a:lnSpc>
                <a:spcPct val="100000"/>
              </a:lnSpc>
              <a:spcBef>
                <a:spcPts val="0"/>
              </a:spcBef>
              <a:buFont typeface="Arial" panose="020B0604020202020204" pitchFamily="34" charset="0"/>
              <a:buChar char="•"/>
              <a:defRPr/>
            </a:pPr>
            <a:endParaRPr lang="de-DE" sz="1400" dirty="0">
              <a:solidFill>
                <a:schemeClr val="tx1">
                  <a:lumMod val="65000"/>
                  <a:lumOff val="35000"/>
                </a:schemeClr>
              </a:solidFill>
              <a:latin typeface="Tahoma"/>
            </a:endParaRPr>
          </a:p>
        </p:txBody>
      </p:sp>
      <p:sp>
        <p:nvSpPr>
          <p:cNvPr id="29" name="TextBox 187">
            <a:extLst>
              <a:ext uri="{FF2B5EF4-FFF2-40B4-BE49-F238E27FC236}">
                <a16:creationId xmlns:a16="http://schemas.microsoft.com/office/drawing/2014/main" id="{CDBEC6D2-A989-F34C-8200-7F7BFE507F0A}"/>
              </a:ext>
            </a:extLst>
          </p:cNvPr>
          <p:cNvSpPr txBox="1"/>
          <p:nvPr/>
        </p:nvSpPr>
        <p:spPr>
          <a:xfrm>
            <a:off x="874900" y="3040840"/>
            <a:ext cx="1253348" cy="215444"/>
          </a:xfrm>
          <a:prstGeom prst="rect">
            <a:avLst/>
          </a:prstGeom>
          <a:solidFill>
            <a:schemeClr val="bg1"/>
          </a:solidFill>
        </p:spPr>
        <p:txBody>
          <a:bodyPr wrap="square" lIns="0" tIns="0" rIns="0" bIns="0" rtlCol="0">
            <a:spAutoFit/>
          </a:bodyPr>
          <a:lstStyle/>
          <a:p>
            <a:pPr algn="ctr" defTabSz="914079">
              <a:defRPr/>
            </a:pPr>
            <a:r>
              <a:rPr lang="de-DE" sz="1400" b="1" dirty="0">
                <a:solidFill>
                  <a:srgbClr val="404040"/>
                </a:solidFill>
                <a:latin typeface="Tahoma"/>
              </a:rPr>
              <a:t>Beispiele:</a:t>
            </a:r>
          </a:p>
        </p:txBody>
      </p:sp>
      <p:sp>
        <p:nvSpPr>
          <p:cNvPr id="20" name="Oval 8">
            <a:extLst>
              <a:ext uri="{FF2B5EF4-FFF2-40B4-BE49-F238E27FC236}">
                <a16:creationId xmlns:a16="http://schemas.microsoft.com/office/drawing/2014/main" id="{D3F36EB9-9C20-1646-9C22-4D953B75A75B}"/>
              </a:ext>
            </a:extLst>
          </p:cNvPr>
          <p:cNvSpPr/>
          <p:nvPr/>
        </p:nvSpPr>
        <p:spPr>
          <a:xfrm>
            <a:off x="336005" y="2974917"/>
            <a:ext cx="376966" cy="376966"/>
          </a:xfrm>
          <a:prstGeom prst="ellipse">
            <a:avLst/>
          </a:prstGeom>
          <a:solidFill>
            <a:srgbClr val="404040"/>
          </a:solidFill>
          <a:ln w="38100">
            <a:no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079" rtl="0" eaLnBrk="1" fontAlgn="auto" latinLnBrk="0" hangingPunct="1">
              <a:lnSpc>
                <a:spcPct val="100000"/>
              </a:lnSpc>
              <a:spcBef>
                <a:spcPts val="0"/>
              </a:spcBef>
              <a:spcAft>
                <a:spcPts val="0"/>
              </a:spcAft>
              <a:buClrTx/>
              <a:buSzTx/>
              <a:buFontTx/>
              <a:buNone/>
              <a:tabLst/>
              <a:defRPr/>
            </a:pPr>
            <a:r>
              <a:rPr lang="de-DE" sz="1600" b="1" dirty="0">
                <a:solidFill>
                  <a:srgbClr val="FFFFFF"/>
                </a:solidFill>
                <a:latin typeface="Tahoma"/>
              </a:rPr>
              <a:t>2</a:t>
            </a:r>
            <a:endParaRPr kumimoji="0" lang="de-DE" sz="1600" b="1" i="0" u="none" strike="noStrike" kern="1200" cap="none" spc="0" normalizeH="0" baseline="0" noProof="0" dirty="0">
              <a:ln>
                <a:noFill/>
              </a:ln>
              <a:solidFill>
                <a:srgbClr val="FFFFFF"/>
              </a:solidFill>
              <a:effectLst/>
              <a:uLnTx/>
              <a:uFillTx/>
              <a:latin typeface="Tahoma"/>
              <a:ea typeface="+mn-ea"/>
              <a:cs typeface="+mn-cs"/>
            </a:endParaRPr>
          </a:p>
        </p:txBody>
      </p:sp>
      <p:pic>
        <p:nvPicPr>
          <p:cNvPr id="15" name="Picture 4" descr="Ernährung">
            <a:extLst>
              <a:ext uri="{FF2B5EF4-FFF2-40B4-BE49-F238E27FC236}">
                <a16:creationId xmlns:a16="http://schemas.microsoft.com/office/drawing/2014/main" id="{09184036-0B48-0542-A4C6-617D7C5DC389}"/>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845332" y="2151221"/>
            <a:ext cx="2666100" cy="199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5" descr="Sport">
            <a:extLst>
              <a:ext uri="{FF2B5EF4-FFF2-40B4-BE49-F238E27FC236}">
                <a16:creationId xmlns:a16="http://schemas.microsoft.com/office/drawing/2014/main" id="{FEE8FDCF-BEF2-7142-9FEF-95C4B82BDEB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686185" y="3092016"/>
            <a:ext cx="2823717" cy="2118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7" descr="Waldwichtel Gesundheit">
            <a:extLst>
              <a:ext uri="{FF2B5EF4-FFF2-40B4-BE49-F238E27FC236}">
                <a16:creationId xmlns:a16="http://schemas.microsoft.com/office/drawing/2014/main" id="{28573015-CA8C-A64E-8697-E448504BCBB6}"/>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845332" y="4282573"/>
            <a:ext cx="2666100" cy="199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450718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x559vkn.kyFv_3fRRRQCw"/>
</p:tagLst>
</file>

<file path=ppt/theme/theme1.xml><?xml version="1.0" encoding="utf-8"?>
<a:theme xmlns:a="http://schemas.openxmlformats.org/drawingml/2006/main" name="Office">
  <a:themeElements>
    <a:clrScheme name="Blau">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765</Words>
  <Application>Microsoft Office PowerPoint</Application>
  <PresentationFormat>Breitbild</PresentationFormat>
  <Paragraphs>315</Paragraphs>
  <Slides>37</Slides>
  <Notes>0</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37</vt:i4>
      </vt:variant>
    </vt:vector>
  </HeadingPairs>
  <TitlesOfParts>
    <vt:vector size="47" baseType="lpstr">
      <vt:lpstr>Arial</vt:lpstr>
      <vt:lpstr>Calibri</vt:lpstr>
      <vt:lpstr>Calibri Light</vt:lpstr>
      <vt:lpstr>Georgia</vt:lpstr>
      <vt:lpstr>Symbol</vt:lpstr>
      <vt:lpstr>Tahoma</vt:lpstr>
      <vt:lpstr>Times</vt:lpstr>
      <vt:lpstr>Wingdings</vt:lpstr>
      <vt:lpstr>Office</vt:lpstr>
      <vt:lpstr>think-cell Folie</vt:lpstr>
      <vt:lpstr>PowerPoint-Präsentation</vt:lpstr>
      <vt:lpstr>Die Präsentation gibt grundlegende Informationen über 3 Themenbereich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Das letzte Kita-Jahr (Vorbereitung auf die Schule)</vt:lpstr>
      <vt:lpstr>Leben und Lernen in Kindertageseinrichtungen</vt:lpstr>
      <vt:lpstr>Vorbereiten und Stärken für den Schulbeginn   -gesprochene und geschriebene Sprache-</vt:lpstr>
      <vt:lpstr>Vorschulische Fördermöglichkeiten</vt:lpstr>
      <vt:lpstr>Sprachförderung und Sprachstandsfeststellung</vt:lpstr>
      <vt:lpstr>Feststellung des Sprachstandes</vt:lpstr>
      <vt:lpstr>Sprachstandsfeststellung „Delfin“</vt:lpstr>
      <vt:lpstr>Beginn der Schulpflicht</vt:lpstr>
      <vt:lpstr>Anmeldeverfahren</vt:lpstr>
      <vt:lpstr>Sprachförderung-Einschulung</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Vanessa Kroha</dc:creator>
  <cp:lastModifiedBy>Mechthild Dickmann</cp:lastModifiedBy>
  <cp:revision>13</cp:revision>
  <dcterms:created xsi:type="dcterms:W3CDTF">2022-02-28T11:54:54Z</dcterms:created>
  <dcterms:modified xsi:type="dcterms:W3CDTF">2022-07-21T06:26:32Z</dcterms:modified>
</cp:coreProperties>
</file>